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8" r:id="rId2"/>
  </p:sldMasterIdLst>
  <p:notesMasterIdLst>
    <p:notesMasterId r:id="rId30"/>
  </p:notesMasterIdLst>
  <p:handoutMasterIdLst>
    <p:handoutMasterId r:id="rId31"/>
  </p:handoutMasterIdLst>
  <p:sldIdLst>
    <p:sldId id="537" r:id="rId3"/>
    <p:sldId id="535" r:id="rId4"/>
    <p:sldId id="507" r:id="rId5"/>
    <p:sldId id="533" r:id="rId6"/>
    <p:sldId id="513" r:id="rId7"/>
    <p:sldId id="515" r:id="rId8"/>
    <p:sldId id="359" r:id="rId9"/>
    <p:sldId id="363" r:id="rId10"/>
    <p:sldId id="408" r:id="rId11"/>
    <p:sldId id="467" r:id="rId12"/>
    <p:sldId id="488" r:id="rId13"/>
    <p:sldId id="538" r:id="rId14"/>
    <p:sldId id="470" r:id="rId15"/>
    <p:sldId id="471" r:id="rId16"/>
    <p:sldId id="541" r:id="rId17"/>
    <p:sldId id="504" r:id="rId18"/>
    <p:sldId id="542" r:id="rId19"/>
    <p:sldId id="543" r:id="rId20"/>
    <p:sldId id="489" r:id="rId21"/>
    <p:sldId id="490" r:id="rId22"/>
    <p:sldId id="491" r:id="rId23"/>
    <p:sldId id="492" r:id="rId24"/>
    <p:sldId id="545" r:id="rId25"/>
    <p:sldId id="493" r:id="rId26"/>
    <p:sldId id="494" r:id="rId27"/>
    <p:sldId id="544" r:id="rId28"/>
    <p:sldId id="500" r:id="rId29"/>
  </p:sldIdLst>
  <p:sldSz cx="9144000" cy="6858000" type="screen4x3"/>
  <p:notesSz cx="6797675" cy="9926638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8">
          <p15:clr>
            <a:srgbClr val="A4A3A4"/>
          </p15:clr>
        </p15:guide>
        <p15:guide id="2" orient="horz" pos="2497">
          <p15:clr>
            <a:srgbClr val="A4A3A4"/>
          </p15:clr>
        </p15:guide>
        <p15:guide id="3" orient="horz" pos="4273">
          <p15:clr>
            <a:srgbClr val="A4A3A4"/>
          </p15:clr>
        </p15:guide>
        <p15:guide id="4" orient="horz" pos="835">
          <p15:clr>
            <a:srgbClr val="A4A3A4"/>
          </p15:clr>
        </p15:guide>
        <p15:guide id="5" pos="4983">
          <p15:clr>
            <a:srgbClr val="A4A3A4"/>
          </p15:clr>
        </p15:guide>
        <p15:guide id="6" pos="215">
          <p15:clr>
            <a:srgbClr val="A4A3A4"/>
          </p15:clr>
        </p15:guide>
        <p15:guide id="7" pos="43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eixlbaumer Valerie" initials="WV" lastIdx="2" clrIdx="0"/>
  <p:cmAuthor id="1" name="Reisenberger Ulrike" initials="RU" lastIdx="17" clrIdx="1"/>
  <p:cmAuthor id="2" name="Kovacikova Anna" initials="K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A64"/>
    <a:srgbClr val="FE7300"/>
    <a:srgbClr val="ABABAB"/>
    <a:srgbClr val="8C4799"/>
    <a:srgbClr val="3366FF"/>
    <a:srgbClr val="3B8B25"/>
    <a:srgbClr val="BC2E2E"/>
    <a:srgbClr val="020228"/>
    <a:srgbClr val="14146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83" autoAdjust="0"/>
    <p:restoredTop sz="94858" autoAdjust="0"/>
  </p:normalViewPr>
  <p:slideViewPr>
    <p:cSldViewPr snapToGrid="0">
      <p:cViewPr varScale="1">
        <p:scale>
          <a:sx n="122" d="100"/>
          <a:sy n="122" d="100"/>
        </p:scale>
        <p:origin x="1068" y="90"/>
      </p:cViewPr>
      <p:guideLst>
        <p:guide orient="horz" pos="678"/>
        <p:guide orient="horz" pos="2497"/>
        <p:guide orient="horz" pos="4273"/>
        <p:guide orient="horz" pos="835"/>
        <p:guide pos="4983"/>
        <p:guide pos="215"/>
        <p:guide pos="43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-1008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miba.com\dfs_at\deposit_laa\Finanz\_Corporate_Finance\Pr&#228;sentationen\Pr&#228;sentation%20VOSI\VOSI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305890319495017"/>
          <c:y val="4.3025321734865271E-2"/>
          <c:w val="0.64825975366635569"/>
          <c:h val="0.92235411351020302"/>
        </c:manualLayout>
      </c:layout>
      <c:doughnutChart>
        <c:varyColors val="1"/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60"/>
        <c:holeSize val="50"/>
      </c:doughnutChart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sk-SK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8CB2B5-3A99-3C44-ADD1-DA6D1BCBB2C0}" type="datetimeFigureOut">
              <a:rPr lang="de-DE" smtClean="0"/>
              <a:pPr/>
              <a:t>13.11.2023</a:t>
            </a:fld>
            <a:endParaRPr lang="de-AT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654318-7EE4-024E-8C54-9964CF591A62}" type="slidenum">
              <a:rPr lang="de-DE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289192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8A65D2-3C32-A545-95EC-776F25DFD62A}" type="datetimeFigureOut">
              <a:rPr lang="de-DE" smtClean="0"/>
              <a:pPr/>
              <a:t>13.11.2023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E20200-E8A3-7041-B5F8-2C8847AE23DF}" type="slidenum">
              <a:rPr lang="de-DE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6685273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harepoint.miba.com/quam/Downloadcenter/Miba%20AG/Guidelines%20(GD)/Miba_DesignManual_PPT_280415.pdf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sharepoint.miba.com/quam/Downloadcenter/Miba%20AG/Guidelines%20(GD)/Miba_DesignManual_PPT_280415.pdf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harepoint.miba.com/quam/Downloadcenter/Miba%20AG/Guidelines%20(GD)/Miba_DesignManual_PPT_280415.pdf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k-SK" sz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íľniky 85-ročnej histórie firmy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50076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097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0098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34819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CF6CEEE-B479-48C5-9817-724350FC725B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399489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19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861883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20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8391251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2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003778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22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211502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2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7771230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24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606209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2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51532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2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735585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27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875980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05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1906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26627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F712A7-3F73-4080-A7C0-DA1B258ED61F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85278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98509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625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2626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58371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103E8C0-E9E7-44D7-A1E5-1A6E06E5501B}" type="slidenum">
              <a:rPr lang="de-DE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de-A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247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22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62467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11BEEE0-4C81-4560-808F-4816913BDEFE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01876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sz="1200" dirty="0" err="1">
                <a:latin typeface="Arial" panose="020B0604020202020204" pitchFamily="34" charset="0"/>
                <a:cs typeface="Arial" panose="020B0604020202020204" pitchFamily="34" charset="0"/>
              </a:rPr>
              <a:t>Any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questions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look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PPT Manual: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120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https://sharepoint.miba.com/quam/Downloadcenter/Miba%20AG/Guidelines%20(GD)/Miba_DesignManual_PPT_280415.pdf</a:t>
            </a:r>
            <a:endParaRPr lang="de-AT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8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422449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sz="1200" dirty="0" err="1">
                <a:latin typeface="Arial" panose="020B0604020202020204" pitchFamily="34" charset="0"/>
                <a:cs typeface="Arial" panose="020B0604020202020204" pitchFamily="34" charset="0"/>
              </a:rPr>
              <a:t>Any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questions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look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PPT Manual: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120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https://sharepoint.miba.com/quam/Downloadcenter/Miba%20AG/Guidelines%20(GD)/Miba_DesignManual_PPT_280415.pdf</a:t>
            </a:r>
            <a:endParaRPr lang="de-AT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9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4053508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sz="1200" dirty="0" err="1">
                <a:latin typeface="Arial" panose="020B0604020202020204" pitchFamily="34" charset="0"/>
                <a:cs typeface="Arial" panose="020B0604020202020204" pitchFamily="34" charset="0"/>
              </a:rPr>
              <a:t>Any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questions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Have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look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de-AT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de-AT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PPT Manual: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120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https://sharepoint.miba.com/quam/Downloadcenter/Miba%20AG/Guidelines%20(GD)/Miba_DesignManual_PPT_280415.pdf</a:t>
            </a:r>
            <a:endParaRPr lang="de-AT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10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734056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E20200-E8A3-7041-B5F8-2C8847AE23DF}" type="slidenum">
              <a:rPr lang="de-DE" smtClean="0"/>
              <a:pPr/>
              <a:t>1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295201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6" name="Rechteck 5"/>
          <p:cNvSpPr/>
          <p:nvPr userDrawn="1"/>
        </p:nvSpPr>
        <p:spPr>
          <a:xfrm>
            <a:off x="0" y="0"/>
            <a:ext cx="9144000" cy="106203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Bild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63513" y="304201"/>
            <a:ext cx="2449102" cy="52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42000" y="4869160"/>
            <a:ext cx="5835972" cy="923330"/>
          </a:xfrm>
        </p:spPr>
        <p:txBody>
          <a:bodyPr lIns="144000" anchor="b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sk-SK"/>
              <a:t>Upravte štýly predlohy textu</a:t>
            </a:r>
            <a:endParaRPr lang="de-DE" dirty="0"/>
          </a:p>
        </p:txBody>
      </p:sp>
      <p:sp>
        <p:nvSpPr>
          <p:cNvPr id="9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1312" y="5886392"/>
            <a:ext cx="5828899" cy="620771"/>
          </a:xfrm>
          <a:prstGeom prst="rect">
            <a:avLst/>
          </a:prstGeom>
        </p:spPr>
        <p:txBody>
          <a:bodyPr lIns="144000" tIns="0" rIns="0" bIns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2400" baseline="0"/>
            </a:lvl3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826293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+pictur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13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41313" y="1325563"/>
            <a:ext cx="4230687" cy="518160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4572000" y="1325563"/>
            <a:ext cx="4230000" cy="5181600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441103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40236" y="1320799"/>
            <a:ext cx="8473563" cy="518636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de-DE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de-DE" dirty="0"/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005224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 pictures +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998368" y="1325563"/>
            <a:ext cx="2814429" cy="51816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3"/>
          </p:nvPr>
        </p:nvSpPr>
        <p:spPr>
          <a:xfrm>
            <a:off x="341313" y="1325563"/>
            <a:ext cx="2826000" cy="2589211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/>
          </p:nvPr>
        </p:nvSpPr>
        <p:spPr>
          <a:xfrm>
            <a:off x="341313" y="3915163"/>
            <a:ext cx="2826000" cy="2592000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6"/>
          </p:nvPr>
        </p:nvSpPr>
        <p:spPr>
          <a:xfrm>
            <a:off x="3167064" y="1325562"/>
            <a:ext cx="2828924" cy="2589213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4" name="Bildplatzhalter 9"/>
          <p:cNvSpPr>
            <a:spLocks noGrp="1"/>
          </p:cNvSpPr>
          <p:nvPr>
            <p:ph type="pic" sz="quarter" idx="17"/>
          </p:nvPr>
        </p:nvSpPr>
        <p:spPr>
          <a:xfrm>
            <a:off x="3167064" y="3915163"/>
            <a:ext cx="2828925" cy="2592000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596308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6" descr="wand_bg_miba_141014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73888"/>
            <a:ext cx="9144000" cy="5784111"/>
          </a:xfrm>
          <a:prstGeom prst="rect">
            <a:avLst/>
          </a:prstGeom>
        </p:spPr>
      </p:pic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341313" y="4317558"/>
            <a:ext cx="8472487" cy="2189605"/>
          </a:xfrm>
          <a:noFill/>
        </p:spPr>
        <p:txBody>
          <a:bodyPr/>
          <a:lstStyle>
            <a:lvl1pPr>
              <a:spcAft>
                <a:spcPts val="0"/>
              </a:spcAft>
              <a:defRPr sz="2400" b="1"/>
            </a:lvl1pPr>
            <a:lvl2pPr>
              <a:spcAft>
                <a:spcPts val="300"/>
              </a:spcAft>
              <a:defRPr sz="2400"/>
            </a:lvl2pPr>
            <a:lvl3pPr marL="0" indent="0">
              <a:buNone/>
              <a:defRPr/>
            </a:lvl3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105878050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0" y="1079994"/>
            <a:ext cx="9144000" cy="5778005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4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BF5D93-92CE-4745-AC15-949851DE113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574374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57200" y="2276475"/>
            <a:ext cx="8291513" cy="39608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</p:spTree>
    <p:extLst>
      <p:ext uri="{BB962C8B-B14F-4D97-AF65-F5344CB8AC3E}">
        <p14:creationId xmlns:p14="http://schemas.microsoft.com/office/powerpoint/2010/main" val="23198383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6"/>
          <p:cNvSpPr/>
          <p:nvPr userDrawn="1"/>
        </p:nvSpPr>
        <p:spPr>
          <a:xfrm>
            <a:off x="0" y="0"/>
            <a:ext cx="9144000" cy="106203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6" name="Bild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64288" y="304800"/>
            <a:ext cx="24479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263" y="6327775"/>
            <a:ext cx="8235950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62401B-0EBF-459E-B5D6-6ABEB7E34C9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819308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Hintergrundbild+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6"/>
          <p:cNvSpPr/>
          <p:nvPr userDrawn="1"/>
        </p:nvSpPr>
        <p:spPr>
          <a:xfrm>
            <a:off x="0" y="0"/>
            <a:ext cx="9144000" cy="106203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8" name="Bild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64288" y="304800"/>
            <a:ext cx="24479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263" y="6327775"/>
            <a:ext cx="8235950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4492798" y="1327500"/>
            <a:ext cx="4320000" cy="1607070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44000" tIns="144000" rIns="144000" bIns="144000">
            <a:spAutoFit/>
          </a:bodyPr>
          <a:lstStyle>
            <a:lvl1pPr marL="0" indent="0">
              <a:lnSpc>
                <a:spcPct val="102000"/>
              </a:lnSpc>
              <a:spcBef>
                <a:spcPts val="0"/>
              </a:spcBef>
              <a:spcAft>
                <a:spcPts val="1200"/>
              </a:spcAft>
              <a:defRPr sz="2000"/>
            </a:lvl1pPr>
            <a:lvl2pPr marL="0" indent="0" algn="l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None/>
              <a:defRPr sz="1400"/>
            </a:lvl2pPr>
            <a:lvl3pPr marL="180000" indent="-180000">
              <a:lnSpc>
                <a:spcPts val="2000"/>
              </a:lnSpc>
              <a:spcBef>
                <a:spcPts val="0"/>
              </a:spcBef>
              <a:defRPr sz="1400"/>
            </a:lvl3pPr>
            <a:lvl4pPr marL="360000" indent="-180000">
              <a:lnSpc>
                <a:spcPts val="2000"/>
              </a:lnSpc>
              <a:spcBef>
                <a:spcPts val="0"/>
              </a:spcBef>
              <a:defRPr sz="14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255AC6-2E3E-4E90-BF56-292FFC3719C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387337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6" name="Rechteck 5"/>
          <p:cNvSpPr/>
          <p:nvPr userDrawn="1"/>
        </p:nvSpPr>
        <p:spPr>
          <a:xfrm>
            <a:off x="0" y="0"/>
            <a:ext cx="9144000" cy="106203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8" name="Bild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63513" y="304201"/>
            <a:ext cx="2449102" cy="52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42000" y="4869160"/>
            <a:ext cx="5835972" cy="923330"/>
          </a:xfrm>
        </p:spPr>
        <p:txBody>
          <a:bodyPr lIns="144000" anchor="b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1312" y="5886392"/>
            <a:ext cx="5828899" cy="620771"/>
          </a:xfrm>
          <a:prstGeom prst="rect">
            <a:avLst/>
          </a:prstGeom>
        </p:spPr>
        <p:txBody>
          <a:bodyPr lIns="144000" tIns="0" rIns="0" bIns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2400" baseline="0"/>
            </a:lvl3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484903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6" descr="wand_bg_miba_141014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967701"/>
            <a:ext cx="9144000" cy="2890299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0" y="0"/>
            <a:ext cx="9144000" cy="106203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8" name="Bild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63513" y="304201"/>
            <a:ext cx="2449102" cy="52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1062038"/>
            <a:ext cx="3049200" cy="2898000"/>
          </a:xfrm>
          <a:prstGeom prst="rect">
            <a:avLst/>
          </a:prstGeo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047400" y="1062038"/>
            <a:ext cx="3049200" cy="2898000"/>
          </a:xfrm>
          <a:prstGeom prst="rect">
            <a:avLst/>
          </a:prstGeo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094800" y="1062038"/>
            <a:ext cx="3049200" cy="2898000"/>
          </a:xfrm>
          <a:prstGeom prst="rect">
            <a:avLst/>
          </a:prstGeo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42000" y="4869160"/>
            <a:ext cx="5835972" cy="923330"/>
          </a:xfrm>
        </p:spPr>
        <p:txBody>
          <a:bodyPr lIns="144000" anchor="b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sk-SK"/>
              <a:t>Upravte štýly predlohy textu</a:t>
            </a:r>
            <a:endParaRPr lang="de-DE" dirty="0"/>
          </a:p>
        </p:txBody>
      </p:sp>
      <p:sp>
        <p:nvSpPr>
          <p:cNvPr id="13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1312" y="5886392"/>
            <a:ext cx="5828899" cy="620771"/>
          </a:xfrm>
          <a:prstGeom prst="rect">
            <a:avLst/>
          </a:prstGeom>
        </p:spPr>
        <p:txBody>
          <a:bodyPr lIns="144000" tIns="0" rIns="0" bIns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2400" baseline="0"/>
            </a:lvl3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7496560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6" descr="wand_bg_miba_141014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967701"/>
            <a:ext cx="9144000" cy="2890299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0" y="0"/>
            <a:ext cx="9144000" cy="106203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8" name="Bild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63513" y="304201"/>
            <a:ext cx="2449102" cy="52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1062038"/>
            <a:ext cx="3049200" cy="2898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047400" y="1062038"/>
            <a:ext cx="3049200" cy="2898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094800" y="1062038"/>
            <a:ext cx="3049200" cy="2898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342000" y="4869160"/>
            <a:ext cx="5835972" cy="923330"/>
          </a:xfrm>
        </p:spPr>
        <p:txBody>
          <a:bodyPr lIns="144000" anchor="b"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1312" y="5886392"/>
            <a:ext cx="5828899" cy="620771"/>
          </a:xfrm>
          <a:prstGeom prst="rect">
            <a:avLst/>
          </a:prstGeom>
        </p:spPr>
        <p:txBody>
          <a:bodyPr lIns="144000" tIns="0" rIns="0" bIns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2400" baseline="0"/>
            </a:lvl3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366320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6" descr="wand_bg_miba_141014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38255"/>
            <a:ext cx="9144000" cy="591974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0237" y="3626069"/>
            <a:ext cx="6223000" cy="1333683"/>
          </a:xfrm>
        </p:spPr>
        <p:txBody>
          <a:bodyPr lIns="144000" anchor="b"/>
          <a:lstStyle>
            <a:lvl1pPr>
              <a:defRPr sz="3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7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1312" y="5060650"/>
            <a:ext cx="5828899" cy="620771"/>
          </a:xfrm>
          <a:prstGeom prst="rect">
            <a:avLst/>
          </a:prstGeom>
        </p:spPr>
        <p:txBody>
          <a:bodyPr lIns="144000" tIns="0" rIns="0" bIns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2400" baseline="0"/>
            </a:lvl3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399648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+ highlight top d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0237" y="199077"/>
            <a:ext cx="5624001" cy="358861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492798" y="1325563"/>
            <a:ext cx="4320000" cy="1391114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44000" tIns="144000" rIns="144000" bIns="14400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65054048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+ highlight bottom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679198" y="6648189"/>
            <a:ext cx="2133600" cy="153888"/>
          </a:xfrm>
        </p:spPr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492798" y="5116049"/>
            <a:ext cx="4320000" cy="1391114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44000" tIns="144000" rIns="144000" bIns="144000" anchor="b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6265594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00806992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+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41312" y="1325563"/>
            <a:ext cx="5644800" cy="518160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5990398" y="1325563"/>
            <a:ext cx="2822400" cy="172723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990398" y="3050380"/>
            <a:ext cx="2822400" cy="172998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/>
          </p:nvPr>
        </p:nvSpPr>
        <p:spPr>
          <a:xfrm>
            <a:off x="5991400" y="4779169"/>
            <a:ext cx="2822400" cy="1727994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264960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+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41312" y="1325563"/>
            <a:ext cx="8472488" cy="324643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341312" y="4779163"/>
            <a:ext cx="2829177" cy="172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169444" y="4779163"/>
            <a:ext cx="2821158" cy="172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/>
          </p:nvPr>
        </p:nvSpPr>
        <p:spPr>
          <a:xfrm>
            <a:off x="5990398" y="4779163"/>
            <a:ext cx="2822400" cy="172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7848104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+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5995988" y="1325563"/>
            <a:ext cx="2824164" cy="51816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41312" y="1325563"/>
            <a:ext cx="5654675" cy="5181600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64492755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+pictur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13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41313" y="1325563"/>
            <a:ext cx="4230687" cy="518160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4572000" y="1325563"/>
            <a:ext cx="4230000" cy="51816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04653022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40236" y="1320799"/>
            <a:ext cx="8473563" cy="518636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8278932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6" descr="wand_bg_miba_141014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38255"/>
            <a:ext cx="9144000" cy="591974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0237" y="3626069"/>
            <a:ext cx="6223000" cy="1333683"/>
          </a:xfrm>
        </p:spPr>
        <p:txBody>
          <a:bodyPr lIns="144000" anchor="b"/>
          <a:lstStyle>
            <a:lvl1pPr>
              <a:defRPr sz="3000"/>
            </a:lvl1pPr>
          </a:lstStyle>
          <a:p>
            <a:r>
              <a:rPr lang="sk-SK"/>
              <a:t>Upravte štýly predlohy textu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  <p:sp>
        <p:nvSpPr>
          <p:cNvPr id="7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41312" y="5060650"/>
            <a:ext cx="5828899" cy="620771"/>
          </a:xfrm>
          <a:prstGeom prst="rect">
            <a:avLst/>
          </a:prstGeom>
        </p:spPr>
        <p:txBody>
          <a:bodyPr lIns="144000" tIns="0" rIns="0" bIns="0">
            <a:noAutofit/>
          </a:bodyPr>
          <a:lstStyle>
            <a:lvl1pPr>
              <a:lnSpc>
                <a:spcPct val="114000"/>
              </a:lnSpc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tx1"/>
                </a:solidFill>
              </a:defRPr>
            </a:lvl2pPr>
            <a:lvl3pPr marL="0" indent="0">
              <a:buFontTx/>
              <a:buNone/>
              <a:defRPr sz="2400" baseline="0"/>
            </a:lvl3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0941313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0156332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 pictures +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5998368" y="1325563"/>
            <a:ext cx="2814429" cy="51816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3"/>
          </p:nvPr>
        </p:nvSpPr>
        <p:spPr>
          <a:xfrm>
            <a:off x="341313" y="1325563"/>
            <a:ext cx="2826000" cy="2589211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/>
          </p:nvPr>
        </p:nvSpPr>
        <p:spPr>
          <a:xfrm>
            <a:off x="341313" y="3915163"/>
            <a:ext cx="2826000" cy="2592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6"/>
          </p:nvPr>
        </p:nvSpPr>
        <p:spPr>
          <a:xfrm>
            <a:off x="3167064" y="1325562"/>
            <a:ext cx="2828924" cy="258921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4" name="Bildplatzhalter 9"/>
          <p:cNvSpPr>
            <a:spLocks noGrp="1"/>
          </p:cNvSpPr>
          <p:nvPr>
            <p:ph type="pic" sz="quarter" idx="17"/>
          </p:nvPr>
        </p:nvSpPr>
        <p:spPr>
          <a:xfrm>
            <a:off x="3167064" y="3915163"/>
            <a:ext cx="2828925" cy="2592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40244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6" descr="wand_bg_miba_141014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73888"/>
            <a:ext cx="9144000" cy="5784111"/>
          </a:xfrm>
          <a:prstGeom prst="rect">
            <a:avLst/>
          </a:prstGeom>
        </p:spPr>
      </p:pic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341313" y="4317558"/>
            <a:ext cx="8472487" cy="2189605"/>
          </a:xfrm>
          <a:noFill/>
        </p:spPr>
        <p:txBody>
          <a:bodyPr/>
          <a:lstStyle>
            <a:lvl1pPr>
              <a:spcAft>
                <a:spcPts val="0"/>
              </a:spcAft>
              <a:defRPr sz="2400" b="1"/>
            </a:lvl1pPr>
            <a:lvl2pPr>
              <a:spcAft>
                <a:spcPts val="300"/>
              </a:spcAft>
              <a:defRPr sz="2400"/>
            </a:lvl2pPr>
            <a:lvl3pPr marL="0" indent="0">
              <a:buNone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06146546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24050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+ highlight top d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0237" y="199077"/>
            <a:ext cx="5624001" cy="358861"/>
          </a:xfrm>
        </p:spPr>
        <p:txBody>
          <a:bodyPr/>
          <a:lstStyle/>
          <a:p>
            <a:r>
              <a:rPr lang="sk-SK"/>
              <a:t>Upravte štýly predlohy textu</a:t>
            </a:r>
            <a:endParaRPr lang="de-DE" dirty="0"/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492798" y="1325563"/>
            <a:ext cx="4320000" cy="1391114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44000" tIns="144000" rIns="144000" bIns="144000">
            <a:sp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791226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+ highlight bottom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de-DE" dirty="0"/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073888"/>
            <a:ext cx="9144000" cy="5784111"/>
          </a:xfrm>
          <a:prstGeom prst="rect">
            <a:avLst/>
          </a:prstGeo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679198" y="6648189"/>
            <a:ext cx="2133600" cy="153888"/>
          </a:xfrm>
        </p:spPr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492798" y="5116049"/>
            <a:ext cx="4320000" cy="1391114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44000" tIns="144000" rIns="144000" bIns="144000" anchor="b">
            <a:sp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538655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375748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+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41312" y="1325563"/>
            <a:ext cx="5644800" cy="518160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5990398" y="1325563"/>
            <a:ext cx="2822400" cy="1727238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990398" y="3050380"/>
            <a:ext cx="2822400" cy="1729983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/>
          </p:nvPr>
        </p:nvSpPr>
        <p:spPr>
          <a:xfrm>
            <a:off x="5991400" y="4779169"/>
            <a:ext cx="2822400" cy="1727994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854903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+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41312" y="1325563"/>
            <a:ext cx="8472488" cy="3246437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341312" y="4779163"/>
            <a:ext cx="2829177" cy="1728000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169444" y="4779163"/>
            <a:ext cx="2821158" cy="1728000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/>
          </p:nvPr>
        </p:nvSpPr>
        <p:spPr>
          <a:xfrm>
            <a:off x="5990398" y="4779163"/>
            <a:ext cx="2822400" cy="1728000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842661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+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4895"/>
            <a:ext cx="9144000" cy="2389632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de-DE" dirty="0"/>
          </a:p>
        </p:txBody>
      </p:sp>
      <p:pic>
        <p:nvPicPr>
          <p:cNvPr id="5" name="Picture 3" descr="C:\Users\SPS\Desktop\Miba Convention PPT\Footer_neu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25" y="6328228"/>
            <a:ext cx="8236673" cy="52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5995988" y="1325563"/>
            <a:ext cx="2824164" cy="5181600"/>
          </a:xfrm>
        </p:spPr>
        <p:txBody>
          <a:bodyPr/>
          <a:lstStyle/>
          <a:p>
            <a:r>
              <a:rPr lang="sk-SK" dirty="0"/>
              <a:t>Ak chcete pridať obrázok, kliknite na ikonu</a:t>
            </a:r>
            <a:endParaRPr lang="de-DE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341312" y="1325563"/>
            <a:ext cx="5654675" cy="5181600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41313" y="572849"/>
            <a:ext cx="5622925" cy="372548"/>
          </a:xfrm>
        </p:spPr>
        <p:txBody>
          <a:bodyPr lIns="0" tIns="0" rIns="0" bIns="0">
            <a:noAutofit/>
          </a:bodyPr>
          <a:lstStyle>
            <a:lvl1pPr>
              <a:defRPr sz="1400"/>
            </a:lvl1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057976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9144000" cy="106203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Bild 6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63513" y="304201"/>
            <a:ext cx="2449102" cy="52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40237" y="199078"/>
            <a:ext cx="5797092" cy="3526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AT"/>
              <a:t>Mastertitelformat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6660232" y="6648189"/>
            <a:ext cx="2133600" cy="15388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rgbClr val="002A64"/>
                </a:solidFill>
              </a:defRPr>
            </a:lvl1pPr>
          </a:lstStyle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/ Occasion of Presentation: To Change -&gt;  Insert -&gt; Header &amp; Footer -&gt; Footer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idx="1"/>
          </p:nvPr>
        </p:nvSpPr>
        <p:spPr>
          <a:xfrm>
            <a:off x="341313" y="1325563"/>
            <a:ext cx="8471302" cy="5181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8" r:id="rId2"/>
    <p:sldLayoutId id="2147483664" r:id="rId3"/>
    <p:sldLayoutId id="2147483654" r:id="rId4"/>
    <p:sldLayoutId id="2147483657" r:id="rId5"/>
    <p:sldLayoutId id="2147483659" r:id="rId6"/>
    <p:sldLayoutId id="2147483660" r:id="rId7"/>
    <p:sldLayoutId id="2147483666" r:id="rId8"/>
    <p:sldLayoutId id="2147483661" r:id="rId9"/>
    <p:sldLayoutId id="2147483667" r:id="rId10"/>
    <p:sldLayoutId id="2147483650" r:id="rId11"/>
    <p:sldLayoutId id="2147483652" r:id="rId12"/>
    <p:sldLayoutId id="2147483662" r:id="rId13"/>
    <p:sldLayoutId id="2147483663" r:id="rId14"/>
    <p:sldLayoutId id="2147483683" r:id="rId15"/>
    <p:sldLayoutId id="2147483685" r:id="rId16"/>
    <p:sldLayoutId id="2147483687" r:id="rId17"/>
    <p:sldLayoutId id="2147483688" r:id="rId18"/>
  </p:sldLayoutIdLst>
  <p:transition/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ct val="102000"/>
        </a:lnSpc>
        <a:spcBef>
          <a:spcPts val="0"/>
        </a:spcBef>
        <a:spcAft>
          <a:spcPts val="1200"/>
        </a:spcAft>
        <a:buFont typeface="Arial"/>
        <a:buNone/>
        <a:defRPr sz="2000" b="0" kern="1200">
          <a:solidFill>
            <a:schemeClr val="accent1"/>
          </a:solidFill>
          <a:latin typeface="Arial"/>
          <a:ea typeface="+mn-ea"/>
          <a:cs typeface="Arial"/>
        </a:defRPr>
      </a:lvl1pPr>
      <a:lvl2pPr marL="0" indent="0" algn="l" defTabSz="457200" rtl="0" eaLnBrk="1" latinLnBrk="0" hangingPunct="1">
        <a:lnSpc>
          <a:spcPts val="2000"/>
        </a:lnSpc>
        <a:spcBef>
          <a:spcPts val="600"/>
        </a:spcBef>
        <a:buFont typeface="Arial"/>
        <a:buNone/>
        <a:defRPr sz="1600" kern="1200">
          <a:solidFill>
            <a:schemeClr val="accent1"/>
          </a:solidFill>
          <a:latin typeface="Arial"/>
          <a:ea typeface="+mn-ea"/>
          <a:cs typeface="Arial"/>
        </a:defRPr>
      </a:lvl2pPr>
      <a:lvl3pPr marL="180000" indent="-180000" algn="l" defTabSz="457200" rtl="0" eaLnBrk="1" latinLnBrk="0" hangingPunct="1">
        <a:lnSpc>
          <a:spcPts val="2000"/>
        </a:lnSpc>
        <a:spcBef>
          <a:spcPts val="0"/>
        </a:spcBef>
        <a:buFont typeface="Arial"/>
        <a:buChar char="•"/>
        <a:defRPr sz="1400" kern="1200">
          <a:solidFill>
            <a:schemeClr val="accent1"/>
          </a:solidFill>
          <a:latin typeface="Arial"/>
          <a:ea typeface="+mn-ea"/>
          <a:cs typeface="Arial"/>
        </a:defRPr>
      </a:lvl3pPr>
      <a:lvl4pPr marL="360000" indent="-180000" algn="l" defTabSz="457200" rtl="0" eaLnBrk="1" latinLnBrk="0" hangingPunct="1">
        <a:lnSpc>
          <a:spcPts val="2000"/>
        </a:lnSpc>
        <a:spcBef>
          <a:spcPts val="0"/>
        </a:spcBef>
        <a:buFont typeface="Arial"/>
        <a:buChar char="–"/>
        <a:defRPr sz="1400" kern="1200">
          <a:solidFill>
            <a:schemeClr val="accent1"/>
          </a:solidFill>
          <a:latin typeface="Arial"/>
          <a:ea typeface="+mn-ea"/>
          <a:cs typeface="Arial"/>
        </a:defRPr>
      </a:lvl4pPr>
      <a:lvl5pPr marL="360000" indent="-144000" algn="l" defTabSz="457200" rtl="0" eaLnBrk="1" latinLnBrk="0" hangingPunct="1">
        <a:lnSpc>
          <a:spcPts val="2000"/>
        </a:lnSpc>
        <a:spcBef>
          <a:spcPts val="0"/>
        </a:spcBef>
        <a:buFont typeface="Symbol" pitchFamily="18" charset="2"/>
        <a:buChar char="-"/>
        <a:defRPr sz="1400" kern="1200">
          <a:solidFill>
            <a:schemeClr val="accent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9144000" cy="106203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9" name="Bild 6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63513" y="304201"/>
            <a:ext cx="2449102" cy="52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40237" y="199078"/>
            <a:ext cx="5797092" cy="3526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AT"/>
              <a:t>Mastertitelformat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6660232" y="6648189"/>
            <a:ext cx="2133600" cy="15388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rgbClr val="002A64"/>
                </a:solidFill>
              </a:defRPr>
            </a:lvl1pPr>
          </a:lstStyle>
          <a:p>
            <a:fld id="{0E26095E-F17B-4059-9056-EA33FC56B97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41312" y="6648189"/>
            <a:ext cx="49418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>
                <a:solidFill>
                  <a:srgbClr val="002A64"/>
                </a:solidFill>
              </a:rPr>
              <a:t>Title / Occasion of Presentation: To Change -&gt;  Insert -&gt; Header &amp; Footer -&gt; Footer</a:t>
            </a:r>
            <a:endParaRPr lang="de-DE" dirty="0">
              <a:solidFill>
                <a:srgbClr val="002A64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idx="1"/>
          </p:nvPr>
        </p:nvSpPr>
        <p:spPr>
          <a:xfrm>
            <a:off x="341313" y="1325563"/>
            <a:ext cx="8471302" cy="5181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37702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9" r:id="rId15"/>
  </p:sldLayoutIdLst>
  <p:transition/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ct val="102000"/>
        </a:lnSpc>
        <a:spcBef>
          <a:spcPts val="0"/>
        </a:spcBef>
        <a:spcAft>
          <a:spcPts val="1200"/>
        </a:spcAft>
        <a:buFont typeface="Arial"/>
        <a:buNone/>
        <a:defRPr sz="2000" b="0" kern="1200">
          <a:solidFill>
            <a:schemeClr val="accent1"/>
          </a:solidFill>
          <a:latin typeface="Arial"/>
          <a:ea typeface="+mn-ea"/>
          <a:cs typeface="Arial"/>
        </a:defRPr>
      </a:lvl1pPr>
      <a:lvl2pPr marL="0" indent="0" algn="l" defTabSz="457200" rtl="0" eaLnBrk="1" latinLnBrk="0" hangingPunct="1">
        <a:lnSpc>
          <a:spcPts val="2000"/>
        </a:lnSpc>
        <a:spcBef>
          <a:spcPts val="600"/>
        </a:spcBef>
        <a:buFont typeface="Arial"/>
        <a:buNone/>
        <a:defRPr sz="1600" kern="1200">
          <a:solidFill>
            <a:schemeClr val="accent1"/>
          </a:solidFill>
          <a:latin typeface="Arial"/>
          <a:ea typeface="+mn-ea"/>
          <a:cs typeface="Arial"/>
        </a:defRPr>
      </a:lvl2pPr>
      <a:lvl3pPr marL="180000" indent="-180000" algn="l" defTabSz="457200" rtl="0" eaLnBrk="1" latinLnBrk="0" hangingPunct="1">
        <a:lnSpc>
          <a:spcPts val="2000"/>
        </a:lnSpc>
        <a:spcBef>
          <a:spcPts val="0"/>
        </a:spcBef>
        <a:buFont typeface="Arial"/>
        <a:buChar char="•"/>
        <a:defRPr sz="1400" kern="1200">
          <a:solidFill>
            <a:schemeClr val="accent1"/>
          </a:solidFill>
          <a:latin typeface="Arial"/>
          <a:ea typeface="+mn-ea"/>
          <a:cs typeface="Arial"/>
        </a:defRPr>
      </a:lvl3pPr>
      <a:lvl4pPr marL="360000" indent="-180000" algn="l" defTabSz="457200" rtl="0" eaLnBrk="1" latinLnBrk="0" hangingPunct="1">
        <a:lnSpc>
          <a:spcPts val="2000"/>
        </a:lnSpc>
        <a:spcBef>
          <a:spcPts val="0"/>
        </a:spcBef>
        <a:buFont typeface="Arial"/>
        <a:buChar char="–"/>
        <a:defRPr sz="1400" kern="1200">
          <a:solidFill>
            <a:schemeClr val="accent1"/>
          </a:solidFill>
          <a:latin typeface="Arial"/>
          <a:ea typeface="+mn-ea"/>
          <a:cs typeface="Arial"/>
        </a:defRPr>
      </a:lvl4pPr>
      <a:lvl5pPr marL="360000" indent="-144000" algn="l" defTabSz="457200" rtl="0" eaLnBrk="1" latinLnBrk="0" hangingPunct="1">
        <a:lnSpc>
          <a:spcPts val="2000"/>
        </a:lnSpc>
        <a:spcBef>
          <a:spcPts val="0"/>
        </a:spcBef>
        <a:buFont typeface="Symbol" pitchFamily="18" charset="2"/>
        <a:buChar char="-"/>
        <a:defRPr sz="1400" kern="1200">
          <a:solidFill>
            <a:schemeClr val="accent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jpeg"/><Relationship Id="rId13" Type="http://schemas.openxmlformats.org/officeDocument/2006/relationships/image" Target="../media/image116.png"/><Relationship Id="rId18" Type="http://schemas.openxmlformats.org/officeDocument/2006/relationships/image" Target="../media/image119.png"/><Relationship Id="rId26" Type="http://schemas.openxmlformats.org/officeDocument/2006/relationships/image" Target="../media/image124.png"/><Relationship Id="rId39" Type="http://schemas.openxmlformats.org/officeDocument/2006/relationships/image" Target="../media/image133.png"/><Relationship Id="rId3" Type="http://schemas.openxmlformats.org/officeDocument/2006/relationships/image" Target="../media/image107.png"/><Relationship Id="rId21" Type="http://schemas.openxmlformats.org/officeDocument/2006/relationships/image" Target="../media/image121.png"/><Relationship Id="rId34" Type="http://schemas.openxmlformats.org/officeDocument/2006/relationships/hyperlink" Target="//upload.wikimedia.org/wikipedia/commons/a/a5/Delphi.svg" TargetMode="External"/><Relationship Id="rId42" Type="http://schemas.openxmlformats.org/officeDocument/2006/relationships/image" Target="../media/image136.png"/><Relationship Id="rId7" Type="http://schemas.openxmlformats.org/officeDocument/2006/relationships/image" Target="../media/image111.png"/><Relationship Id="rId12" Type="http://schemas.openxmlformats.org/officeDocument/2006/relationships/hyperlink" Target="//upload.wikimedia.org/wikipedia/commons/0/0f/General_Motors.svg" TargetMode="External"/><Relationship Id="rId17" Type="http://schemas.openxmlformats.org/officeDocument/2006/relationships/image" Target="../media/image118.png"/><Relationship Id="rId25" Type="http://schemas.openxmlformats.org/officeDocument/2006/relationships/image" Target="../media/image123.jpeg"/><Relationship Id="rId33" Type="http://schemas.openxmlformats.org/officeDocument/2006/relationships/image" Target="../media/image128.png"/><Relationship Id="rId38" Type="http://schemas.openxmlformats.org/officeDocument/2006/relationships/image" Target="../media/image132.png"/><Relationship Id="rId2" Type="http://schemas.openxmlformats.org/officeDocument/2006/relationships/notesSlide" Target="../notesSlides/notesSlide8.xml"/><Relationship Id="rId16" Type="http://schemas.openxmlformats.org/officeDocument/2006/relationships/hyperlink" Target="//upload.wikimedia.org/wikipedia/de/b/b2/Audi-Logo_2009.png" TargetMode="External"/><Relationship Id="rId20" Type="http://schemas.openxmlformats.org/officeDocument/2006/relationships/image" Target="../media/image120.png"/><Relationship Id="rId29" Type="http://schemas.openxmlformats.org/officeDocument/2006/relationships/hyperlink" Target="//upload.wikimedia.org/wikipedia/commons/8/83/Renault_logo_2009.jpg" TargetMode="External"/><Relationship Id="rId41" Type="http://schemas.openxmlformats.org/officeDocument/2006/relationships/image" Target="../media/image13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0.jpeg"/><Relationship Id="rId11" Type="http://schemas.openxmlformats.org/officeDocument/2006/relationships/image" Target="../media/image115.jpeg"/><Relationship Id="rId24" Type="http://schemas.openxmlformats.org/officeDocument/2006/relationships/hyperlink" Target="http://www.iwis.de/start/" TargetMode="External"/><Relationship Id="rId32" Type="http://schemas.openxmlformats.org/officeDocument/2006/relationships/image" Target="../media/image127.png"/><Relationship Id="rId37" Type="http://schemas.openxmlformats.org/officeDocument/2006/relationships/image" Target="../media/image131.png"/><Relationship Id="rId40" Type="http://schemas.openxmlformats.org/officeDocument/2006/relationships/image" Target="../media/image134.png"/><Relationship Id="rId45" Type="http://schemas.openxmlformats.org/officeDocument/2006/relationships/image" Target="../media/image139.png"/><Relationship Id="rId5" Type="http://schemas.openxmlformats.org/officeDocument/2006/relationships/image" Target="../media/image109.png"/><Relationship Id="rId15" Type="http://schemas.openxmlformats.org/officeDocument/2006/relationships/image" Target="../media/image117.png"/><Relationship Id="rId23" Type="http://schemas.openxmlformats.org/officeDocument/2006/relationships/image" Target="../media/image122.png"/><Relationship Id="rId28" Type="http://schemas.openxmlformats.org/officeDocument/2006/relationships/image" Target="../media/image125.png"/><Relationship Id="rId36" Type="http://schemas.openxmlformats.org/officeDocument/2006/relationships/image" Target="../media/image130.png"/><Relationship Id="rId10" Type="http://schemas.openxmlformats.org/officeDocument/2006/relationships/image" Target="../media/image114.png"/><Relationship Id="rId19" Type="http://schemas.openxmlformats.org/officeDocument/2006/relationships/hyperlink" Target="//upload.wikimedia.org/wikipedia/de/6/62/Fiat-markenzeichen-715742neu.png" TargetMode="External"/><Relationship Id="rId31" Type="http://schemas.openxmlformats.org/officeDocument/2006/relationships/hyperlink" Target="//upload.wikimedia.org/wikipedia/de/9/9c/ZF_Lenksysteme.svg" TargetMode="External"/><Relationship Id="rId44" Type="http://schemas.openxmlformats.org/officeDocument/2006/relationships/image" Target="../media/image138.png"/><Relationship Id="rId4" Type="http://schemas.openxmlformats.org/officeDocument/2006/relationships/image" Target="../media/image108.jpeg"/><Relationship Id="rId9" Type="http://schemas.openxmlformats.org/officeDocument/2006/relationships/image" Target="../media/image113.png"/><Relationship Id="rId14" Type="http://schemas.openxmlformats.org/officeDocument/2006/relationships/hyperlink" Target="//upload.wikimedia.org/wikipedia/commons/3/35/Opel_logo_2011.png" TargetMode="External"/><Relationship Id="rId22" Type="http://schemas.openxmlformats.org/officeDocument/2006/relationships/hyperlink" Target="//upload.wikimedia.org/wikipedia/de/6/63/Magna_logo.svg" TargetMode="External"/><Relationship Id="rId27" Type="http://schemas.openxmlformats.org/officeDocument/2006/relationships/hyperlink" Target="//upload.wikimedia.org/wikipedia/de/a/a7/Skoda_Auto_2011_2_logo.png" TargetMode="External"/><Relationship Id="rId30" Type="http://schemas.openxmlformats.org/officeDocument/2006/relationships/image" Target="../media/image126.jpeg"/><Relationship Id="rId35" Type="http://schemas.openxmlformats.org/officeDocument/2006/relationships/image" Target="../media/image129.png"/><Relationship Id="rId43" Type="http://schemas.openxmlformats.org/officeDocument/2006/relationships/image" Target="../media/image1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4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slideLayout" Target="../slideLayouts/slideLayout33.xml"/><Relationship Id="rId21" Type="http://schemas.openxmlformats.org/officeDocument/2006/relationships/image" Target="../media/image35.png"/><Relationship Id="rId7" Type="http://schemas.openxmlformats.org/officeDocument/2006/relationships/image" Target="../media/image21.jpe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tags" Target="../tags/tag3.xml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emf"/><Relationship Id="rId11" Type="http://schemas.openxmlformats.org/officeDocument/2006/relationships/image" Target="../media/image25.png"/><Relationship Id="rId24" Type="http://schemas.openxmlformats.org/officeDocument/2006/relationships/image" Target="../media/image38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Relationship Id="rId22" Type="http://schemas.openxmlformats.org/officeDocument/2006/relationships/image" Target="../media/image3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54.png"/><Relationship Id="rId4" Type="http://schemas.openxmlformats.org/officeDocument/2006/relationships/image" Target="../media/image15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8.png"/><Relationship Id="rId5" Type="http://schemas.openxmlformats.org/officeDocument/2006/relationships/image" Target="../media/image157.png"/><Relationship Id="rId4" Type="http://schemas.openxmlformats.org/officeDocument/2006/relationships/image" Target="../media/image15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2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8.png"/><Relationship Id="rId3" Type="http://schemas.openxmlformats.org/officeDocument/2006/relationships/image" Target="../media/image165.png"/><Relationship Id="rId7" Type="http://schemas.openxmlformats.org/officeDocument/2006/relationships/image" Target="../media/image16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6" Type="http://schemas.microsoft.com/office/2007/relationships/hdphoto" Target="../media/hdphoto2.wdp"/><Relationship Id="rId5" Type="http://schemas.openxmlformats.org/officeDocument/2006/relationships/image" Target="../media/image166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wmf"/><Relationship Id="rId13" Type="http://schemas.openxmlformats.org/officeDocument/2006/relationships/image" Target="../media/image49.wmf"/><Relationship Id="rId3" Type="http://schemas.openxmlformats.org/officeDocument/2006/relationships/image" Target="../media/image39.jpeg"/><Relationship Id="rId7" Type="http://schemas.openxmlformats.org/officeDocument/2006/relationships/image" Target="../media/image43.wmf"/><Relationship Id="rId12" Type="http://schemas.openxmlformats.org/officeDocument/2006/relationships/image" Target="../media/image48.wm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2.wmf"/><Relationship Id="rId11" Type="http://schemas.openxmlformats.org/officeDocument/2006/relationships/image" Target="../media/image47.wmf"/><Relationship Id="rId5" Type="http://schemas.openxmlformats.org/officeDocument/2006/relationships/image" Target="../media/image41.wmf"/><Relationship Id="rId15" Type="http://schemas.openxmlformats.org/officeDocument/2006/relationships/image" Target="../media/image51.wmf"/><Relationship Id="rId10" Type="http://schemas.openxmlformats.org/officeDocument/2006/relationships/image" Target="../media/image46.wmf"/><Relationship Id="rId4" Type="http://schemas.openxmlformats.org/officeDocument/2006/relationships/image" Target="../media/image40.wmf"/><Relationship Id="rId9" Type="http://schemas.openxmlformats.org/officeDocument/2006/relationships/image" Target="../media/image45.wmf"/><Relationship Id="rId14" Type="http://schemas.openxmlformats.org/officeDocument/2006/relationships/image" Target="../media/image50.w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54.png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18" Type="http://schemas.openxmlformats.org/officeDocument/2006/relationships/image" Target="../media/image70.png"/><Relationship Id="rId3" Type="http://schemas.openxmlformats.org/officeDocument/2006/relationships/image" Target="../media/image55.jpeg"/><Relationship Id="rId21" Type="http://schemas.openxmlformats.org/officeDocument/2006/relationships/image" Target="../media/image73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17" Type="http://schemas.openxmlformats.org/officeDocument/2006/relationships/image" Target="../media/image69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68.png"/><Relationship Id="rId20" Type="http://schemas.openxmlformats.org/officeDocument/2006/relationships/image" Target="../media/image7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5" Type="http://schemas.openxmlformats.org/officeDocument/2006/relationships/image" Target="../media/image57.png"/><Relationship Id="rId15" Type="http://schemas.openxmlformats.org/officeDocument/2006/relationships/image" Target="../media/image67.png"/><Relationship Id="rId10" Type="http://schemas.openxmlformats.org/officeDocument/2006/relationships/image" Target="../media/image62.png"/><Relationship Id="rId19" Type="http://schemas.openxmlformats.org/officeDocument/2006/relationships/image" Target="../media/image71.jpe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6.png"/><Relationship Id="rId22" Type="http://schemas.openxmlformats.org/officeDocument/2006/relationships/image" Target="../media/image7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0.jpeg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13" Type="http://schemas.openxmlformats.org/officeDocument/2006/relationships/image" Target="../media/image91.jpeg"/><Relationship Id="rId18" Type="http://schemas.openxmlformats.org/officeDocument/2006/relationships/image" Target="../media/image96.jpeg"/><Relationship Id="rId26" Type="http://schemas.openxmlformats.org/officeDocument/2006/relationships/image" Target="../media/image104.jpeg"/><Relationship Id="rId3" Type="http://schemas.openxmlformats.org/officeDocument/2006/relationships/image" Target="../media/image81.jpeg"/><Relationship Id="rId21" Type="http://schemas.openxmlformats.org/officeDocument/2006/relationships/image" Target="../media/image99.jpeg"/><Relationship Id="rId7" Type="http://schemas.openxmlformats.org/officeDocument/2006/relationships/image" Target="../media/image85.jpeg"/><Relationship Id="rId12" Type="http://schemas.openxmlformats.org/officeDocument/2006/relationships/image" Target="../media/image90.jpeg"/><Relationship Id="rId17" Type="http://schemas.openxmlformats.org/officeDocument/2006/relationships/image" Target="../media/image95.jpeg"/><Relationship Id="rId25" Type="http://schemas.openxmlformats.org/officeDocument/2006/relationships/image" Target="../media/image103.jpe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94.jpeg"/><Relationship Id="rId20" Type="http://schemas.openxmlformats.org/officeDocument/2006/relationships/image" Target="../media/image9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4.jpeg"/><Relationship Id="rId11" Type="http://schemas.openxmlformats.org/officeDocument/2006/relationships/image" Target="../media/image89.jpeg"/><Relationship Id="rId24" Type="http://schemas.openxmlformats.org/officeDocument/2006/relationships/image" Target="../media/image102.jpeg"/><Relationship Id="rId5" Type="http://schemas.openxmlformats.org/officeDocument/2006/relationships/image" Target="../media/image83.jpeg"/><Relationship Id="rId15" Type="http://schemas.openxmlformats.org/officeDocument/2006/relationships/image" Target="../media/image93.jpeg"/><Relationship Id="rId23" Type="http://schemas.openxmlformats.org/officeDocument/2006/relationships/image" Target="../media/image101.jpeg"/><Relationship Id="rId28" Type="http://schemas.openxmlformats.org/officeDocument/2006/relationships/image" Target="../media/image106.jpeg"/><Relationship Id="rId10" Type="http://schemas.openxmlformats.org/officeDocument/2006/relationships/image" Target="../media/image88.jpeg"/><Relationship Id="rId19" Type="http://schemas.openxmlformats.org/officeDocument/2006/relationships/image" Target="../media/image97.jpeg"/><Relationship Id="rId4" Type="http://schemas.openxmlformats.org/officeDocument/2006/relationships/image" Target="../media/image82.jpeg"/><Relationship Id="rId9" Type="http://schemas.openxmlformats.org/officeDocument/2006/relationships/image" Target="../media/image87.jpeg"/><Relationship Id="rId14" Type="http://schemas.openxmlformats.org/officeDocument/2006/relationships/image" Target="../media/image92.jpeg"/><Relationship Id="rId22" Type="http://schemas.openxmlformats.org/officeDocument/2006/relationships/image" Target="../media/image100.jpeg"/><Relationship Id="rId27" Type="http://schemas.openxmlformats.org/officeDocument/2006/relationships/image" Target="../media/image10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2" y="1070424"/>
            <a:ext cx="9142148" cy="579612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002748" y="3847771"/>
            <a:ext cx="1796688" cy="1326014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>
            <a:off x="3135591" y="4032130"/>
            <a:ext cx="1046336" cy="1046336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8688" y="4129883"/>
            <a:ext cx="1259204" cy="839940"/>
          </a:xfrm>
          <a:prstGeom prst="rect">
            <a:avLst/>
          </a:prstGeom>
        </p:spPr>
      </p:pic>
      <p:sp>
        <p:nvSpPr>
          <p:cNvPr id="8" name="Titel 2"/>
          <p:cNvSpPr>
            <a:spLocks noGrp="1"/>
          </p:cNvSpPr>
          <p:nvPr>
            <p:ph type="title"/>
          </p:nvPr>
        </p:nvSpPr>
        <p:spPr>
          <a:xfrm>
            <a:off x="377511" y="5271538"/>
            <a:ext cx="5835972" cy="917899"/>
          </a:xfrm>
        </p:spPr>
        <p:txBody>
          <a:bodyPr/>
          <a:lstStyle/>
          <a:p>
            <a:r>
              <a:rPr lang="de-DE" dirty="0">
                <a:solidFill>
                  <a:prstClr val="white"/>
                </a:solidFill>
              </a:rPr>
              <a:t>Inn</a:t>
            </a:r>
            <a:r>
              <a:rPr lang="de-DE" spc="-30" dirty="0">
                <a:solidFill>
                  <a:prstClr val="white"/>
                </a:solidFill>
              </a:rPr>
              <a:t>ov</a:t>
            </a:r>
            <a:r>
              <a:rPr lang="de-DE" dirty="0">
                <a:solidFill>
                  <a:prstClr val="white"/>
                </a:solidFill>
              </a:rPr>
              <a:t>ation in Motion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sk-SK" dirty="0">
                <a:solidFill>
                  <a:schemeClr val="bg1"/>
                </a:solidFill>
              </a:rPr>
              <a:t>t</a:t>
            </a:r>
            <a:r>
              <a:rPr lang="sk-SK" sz="2800" dirty="0">
                <a:solidFill>
                  <a:prstClr val="white"/>
                </a:solidFill>
              </a:rPr>
              <a:t>echnológie pre čistejšiu planétu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384584" y="6305907"/>
            <a:ext cx="5828899" cy="409974"/>
          </a:xfrm>
        </p:spPr>
        <p:txBody>
          <a:bodyPr/>
          <a:lstStyle/>
          <a:p>
            <a:pPr marR="12700">
              <a:spcAft>
                <a:spcPts val="0"/>
              </a:spcAft>
              <a:defRPr/>
            </a:pPr>
            <a:r>
              <a:rPr lang="sk-SK" dirty="0">
                <a:solidFill>
                  <a:prstClr val="white"/>
                </a:solidFill>
              </a:rPr>
              <a:t>Miba Sinter Slovakia s. r. o.</a:t>
            </a:r>
          </a:p>
        </p:txBody>
      </p:sp>
    </p:spTree>
    <p:extLst>
      <p:ext uri="{BB962C8B-B14F-4D97-AF65-F5344CB8AC3E}">
        <p14:creationId xmlns:p14="http://schemas.microsoft.com/office/powerpoint/2010/main" val="2265199528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Titel 1"/>
          <p:cNvSpPr>
            <a:spLocks noGrp="1"/>
          </p:cNvSpPr>
          <p:nvPr>
            <p:ph type="title"/>
          </p:nvPr>
        </p:nvSpPr>
        <p:spPr>
          <a:xfrm>
            <a:off x="340237" y="199078"/>
            <a:ext cx="5797092" cy="352618"/>
          </a:xfrm>
        </p:spPr>
        <p:txBody>
          <a:bodyPr/>
          <a:lstStyle/>
          <a:p>
            <a:r>
              <a:rPr lang="sk-SK" dirty="0"/>
              <a:t>Referencie</a:t>
            </a:r>
            <a:endParaRPr lang="de-DE" dirty="0"/>
          </a:p>
        </p:txBody>
      </p:sp>
      <p:sp>
        <p:nvSpPr>
          <p:cNvPr id="155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249873" y="522049"/>
            <a:ext cx="5622925" cy="372548"/>
          </a:xfrm>
        </p:spPr>
        <p:txBody>
          <a:bodyPr>
            <a:normAutofit/>
          </a:bodyPr>
          <a:lstStyle/>
          <a:p>
            <a:r>
              <a:rPr lang="en-US" altLang="sk-SK" sz="1400" dirty="0"/>
              <a:t>   </a:t>
            </a:r>
            <a:endParaRPr lang="en-US" sz="1400" kern="0" dirty="0"/>
          </a:p>
        </p:txBody>
      </p:sp>
      <p:pic>
        <p:nvPicPr>
          <p:cNvPr id="13" name="Picture 4" descr="02 Ivec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0400" y="3017838"/>
            <a:ext cx="1360488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 descr="03 Volv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2750" y="5756275"/>
            <a:ext cx="1004888" cy="97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 descr="04 Dayco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2413" y="1287463"/>
            <a:ext cx="2127250" cy="30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" descr="05 PSA Renault Citroen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AFBFD"/>
              </a:clrFrom>
              <a:clrTo>
                <a:srgbClr val="FAFB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050" y="4954588"/>
            <a:ext cx="2160588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 descr="11 Z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5250" y="5632450"/>
            <a:ext cx="2800350" cy="89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1" descr="sp_n_logo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3475" y="3930650"/>
            <a:ext cx="931863" cy="80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4" descr="logo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5250" y="995363"/>
            <a:ext cx="1150938" cy="93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5" descr="Hoerbiger_Logo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738" y="2987675"/>
            <a:ext cx="1371600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9" descr="logo aisin nove jpg"/>
          <p:cNvPicPr>
            <a:picLocks noChangeAspect="1" noChangeArrowheads="1"/>
          </p:cNvPicPr>
          <p:nvPr/>
        </p:nvPicPr>
        <p:blipFill>
          <a:blip r:embed="rId11" cstate="email">
            <a:clrChange>
              <a:clrFrom>
                <a:srgbClr val="FCFFFF"/>
              </a:clrFrom>
              <a:clrTo>
                <a:srgbClr val="FC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8000" y="1320800"/>
            <a:ext cx="1728788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8" descr="Datei:General Motors.sv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9538" y="2117725"/>
            <a:ext cx="719137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2" descr="Datei:Opel logo 2011.pn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7913" y="3924300"/>
            <a:ext cx="901700" cy="93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6" descr="Datei:Audi-Logo 2009.png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5075" y="1238250"/>
            <a:ext cx="1123950" cy="630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97" descr="header_daimler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22850" y="1263650"/>
            <a:ext cx="1474788" cy="404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8" name="Picture 34" descr="Datei:Fiat-markenzeichen-715742neu.png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79663" y="2090738"/>
            <a:ext cx="617537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85" descr="Litens Logo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7538" y="3170238"/>
            <a:ext cx="14001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7" descr="Datei:Magna logo.svg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6788" y="3195638"/>
            <a:ext cx="1604962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10" descr="iwis Antriebstechnik GmbH">
            <a:hlinkClick r:id="rId24"/>
          </p:cNvPr>
          <p:cNvPicPr>
            <a:picLocks noChangeAspect="1"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0888" y="3011488"/>
            <a:ext cx="1008062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02"/>
          <p:cNvPicPr>
            <a:picLocks noChangeAspect="1"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9450" y="2117725"/>
            <a:ext cx="1776413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14" descr="Datei:Skoda Auto 2011 2 logo.png">
            <a:hlinkClick r:id="rId27"/>
          </p:cNvPr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238" y="5800725"/>
            <a:ext cx="738187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2" descr="Datei:Renault logo 2009.jpg">
            <a:hlinkClick r:id="rId29"/>
          </p:cNvPr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7038" y="4945063"/>
            <a:ext cx="682625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6" descr="Datei:ZF Lenksysteme.svg">
            <a:hlinkClick r:id="rId31"/>
          </p:cNvPr>
          <p:cNvPicPr>
            <a:picLocks noChangeAspect="1" noChangeArrowheads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97725" y="5768975"/>
            <a:ext cx="1139825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7" descr="C:\Users\michalikovaan\Desktop\Bez názvu.png"/>
          <p:cNvPicPr>
            <a:picLocks noChangeAspect="1" noChangeArrowheads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8250" y="5040313"/>
            <a:ext cx="1631950" cy="59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6" descr="Datei:Delphi.svg">
            <a:hlinkClick r:id="rId34"/>
          </p:cNvPr>
          <p:cNvPicPr>
            <a:picLocks noChangeAspect="1" noChangeArrowheads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263" y="2324100"/>
            <a:ext cx="1425575" cy="14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0" descr="C:\Users\michalikovaan\Desktop\Bez názvu.png"/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0075" y="3170238"/>
            <a:ext cx="1171575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31" descr="C:\Users\michalikovaan\Desktop\Bez názvu.png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7513" y="5813425"/>
            <a:ext cx="906462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8"/>
          <p:cNvPicPr>
            <a:picLocks noChangeAspect="1" noChangeArrowheads="1"/>
          </p:cNvPicPr>
          <p:nvPr/>
        </p:nvPicPr>
        <p:blipFill>
          <a:blip r:embed="rId38"/>
          <a:srcRect/>
          <a:stretch>
            <a:fillRect/>
          </a:stretch>
        </p:blipFill>
        <p:spPr bwMode="auto">
          <a:xfrm>
            <a:off x="6151563" y="2111375"/>
            <a:ext cx="914400" cy="7429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9" descr="C:\Users\michalikovaan\Desktop\Bez názvu.png"/>
          <p:cNvPicPr>
            <a:picLocks noChangeAspect="1" noChangeArrowheads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05425" y="4933950"/>
            <a:ext cx="2208213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30" descr="C:\Users\michalikovaan\Desktop\Bez názvu.png"/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4563" y="4011613"/>
            <a:ext cx="1647825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31" descr="C:\Users\michalikovaan\Desktop\Bez názvu.png"/>
          <p:cNvPicPr>
            <a:picLocks noChangeAspect="1" noChangeArrowheads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8575" y="4905375"/>
            <a:ext cx="1192213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32" descr="C:\Users\michalikovaan\Desktop\Bez názvu.png"/>
          <p:cNvPicPr>
            <a:picLocks noChangeAspect="1" noChangeArrowheads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000" y="4106863"/>
            <a:ext cx="1458913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33" descr="C:\Users\michalikovaan\Desktop\Bez názvu.png"/>
          <p:cNvPicPr>
            <a:picLocks noChangeAspect="1" noChangeArrowheads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5138" y="3995738"/>
            <a:ext cx="13319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35" descr="C:\Users\michalikovaan\Desktop\Bez názvu.png"/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4238" y="2111375"/>
            <a:ext cx="1495425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36" descr="C:\Users\michalikovaan\Desktop\Bez názvu.png"/>
          <p:cNvPicPr>
            <a:picLocks noChangeAspect="1" noChangeArrowheads="1"/>
          </p:cNvPicPr>
          <p:nvPr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713" y="3935413"/>
            <a:ext cx="681037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bdĺžnik 1"/>
          <p:cNvSpPr/>
          <p:nvPr/>
        </p:nvSpPr>
        <p:spPr>
          <a:xfrm>
            <a:off x="340237" y="5363455"/>
            <a:ext cx="481955" cy="2642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32704840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Titel 1"/>
          <p:cNvSpPr>
            <a:spLocks noGrp="1"/>
          </p:cNvSpPr>
          <p:nvPr>
            <p:ph type="title"/>
          </p:nvPr>
        </p:nvSpPr>
        <p:spPr>
          <a:xfrm>
            <a:off x="340237" y="199078"/>
            <a:ext cx="5797092" cy="352618"/>
          </a:xfrm>
        </p:spPr>
        <p:txBody>
          <a:bodyPr/>
          <a:lstStyle/>
          <a:p>
            <a:r>
              <a:rPr lang="sk-SK" dirty="0"/>
              <a:t>Duálne vzdelávanie</a:t>
            </a:r>
            <a:endParaRPr lang="de-DE" dirty="0"/>
          </a:p>
        </p:txBody>
      </p:sp>
      <p:sp>
        <p:nvSpPr>
          <p:cNvPr id="155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249873" y="522049"/>
            <a:ext cx="5622925" cy="372548"/>
          </a:xfrm>
        </p:spPr>
        <p:txBody>
          <a:bodyPr>
            <a:normAutofit/>
          </a:bodyPr>
          <a:lstStyle/>
          <a:p>
            <a:r>
              <a:rPr lang="en-US" altLang="sk-SK" sz="1400" dirty="0"/>
              <a:t>   </a:t>
            </a:r>
            <a:endParaRPr lang="en-US" sz="1400" kern="0" dirty="0"/>
          </a:p>
        </p:txBody>
      </p:sp>
      <p:sp>
        <p:nvSpPr>
          <p:cNvPr id="2" name="Obdĺžnik 1"/>
          <p:cNvSpPr/>
          <p:nvPr/>
        </p:nvSpPr>
        <p:spPr>
          <a:xfrm>
            <a:off x="340237" y="5363455"/>
            <a:ext cx="481955" cy="2642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65413" y="6293738"/>
            <a:ext cx="8285371" cy="492443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</a:blipFill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sk-SK" sz="1600" b="1" dirty="0">
                <a:latin typeface="Arial" charset="0"/>
                <a:cs typeface="Arial" charset="0"/>
              </a:rPr>
              <a:t>Niektoré spoločnosti ponúkajú iba duálne vzdelávanie. Miba ponúka možnosti.</a:t>
            </a:r>
            <a:endParaRPr lang="en-US" sz="1600" b="1" dirty="0">
              <a:latin typeface="Arial" charset="0"/>
              <a:cs typeface="Arial" charset="0"/>
            </a:endParaRPr>
          </a:p>
        </p:txBody>
      </p:sp>
      <p:pic>
        <p:nvPicPr>
          <p:cNvPr id="4" name="Obrázok 3">
            <a:extLst>
              <a:ext uri="{FF2B5EF4-FFF2-40B4-BE49-F238E27FC236}">
                <a16:creationId xmlns:a16="http://schemas.microsoft.com/office/drawing/2014/main" id="{26BC27F1-EDD5-44B1-97D0-92AC54CFAA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71370"/>
            <a:ext cx="9144000" cy="4991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30688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9073" name="Bildplatzhalter 6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73150"/>
            <a:ext cx="9144000" cy="5784850"/>
          </a:xfrm>
          <a:noFill/>
          <a:ln>
            <a:miter lim="800000"/>
            <a:headEnd/>
            <a:tailEnd/>
          </a:ln>
        </p:spPr>
      </p:pic>
      <p:sp>
        <p:nvSpPr>
          <p:cNvPr id="259074" name="Titel 3"/>
          <p:cNvSpPr>
            <a:spLocks noGrp="1"/>
          </p:cNvSpPr>
          <p:nvPr>
            <p:ph type="title"/>
          </p:nvPr>
        </p:nvSpPr>
        <p:spPr>
          <a:xfrm>
            <a:off x="339725" y="384175"/>
            <a:ext cx="6223000" cy="368300"/>
          </a:xfrm>
        </p:spPr>
        <p:txBody>
          <a:bodyPr/>
          <a:lstStyle/>
          <a:p>
            <a:pPr eaLnBrk="1" hangingPunct="1"/>
            <a:r>
              <a:rPr lang="sk-SK" dirty="0">
                <a:latin typeface="Arial" charset="0"/>
                <a:cs typeface="Arial" charset="0"/>
              </a:rPr>
              <a:t>Vznik duálneho vzdelávania</a:t>
            </a:r>
            <a:endParaRPr lang="en-US" dirty="0">
              <a:latin typeface="Arial" charset="0"/>
              <a:cs typeface="Arial" charset="0"/>
            </a:endParaRPr>
          </a:p>
        </p:txBody>
      </p:sp>
      <p:pic>
        <p:nvPicPr>
          <p:cNvPr id="5" name="Bildplatzhalter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82028"/>
            <a:ext cx="9144000" cy="578485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sp>
        <p:nvSpPr>
          <p:cNvPr id="6" name="Obdĺžnik 5"/>
          <p:cNvSpPr/>
          <p:nvPr/>
        </p:nvSpPr>
        <p:spPr>
          <a:xfrm>
            <a:off x="5104661" y="1082028"/>
            <a:ext cx="3710865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sk-SK" sz="1600" dirty="0">
                <a:solidFill>
                  <a:srgbClr val="00214C"/>
                </a:solidFill>
                <a:latin typeface="Arial" charset="0"/>
                <a:ea typeface="+mj-ea"/>
                <a:cs typeface="Arial" charset="0"/>
              </a:rPr>
              <a:t>Sme jedným z najvýznamnejších zamestnávateľov Oravy, preto venujeme veľkú pozornosť nielen pracovným podmienkam našich zamestnancov, ale zaujímame sa aj o kvalitu vzdelania a života občanov regiónu.</a:t>
            </a:r>
          </a:p>
          <a:p>
            <a:pPr>
              <a:spcAft>
                <a:spcPts val="0"/>
              </a:spcAft>
            </a:pPr>
            <a:r>
              <a:rPr lang="sk-SK" sz="1600" dirty="0">
                <a:solidFill>
                  <a:srgbClr val="00214C"/>
                </a:solidFill>
                <a:latin typeface="Arial" charset="0"/>
                <a:ea typeface="+mj-ea"/>
                <a:cs typeface="Arial" charset="0"/>
              </a:rPr>
              <a:t> </a:t>
            </a:r>
          </a:p>
          <a:p>
            <a:pPr algn="just">
              <a:spcAft>
                <a:spcPts val="0"/>
              </a:spcAft>
            </a:pPr>
            <a:r>
              <a:rPr lang="sk-SK" sz="1600" dirty="0">
                <a:solidFill>
                  <a:srgbClr val="00214C"/>
                </a:solidFill>
                <a:latin typeface="Arial" charset="0"/>
                <a:ea typeface="+mj-ea"/>
                <a:cs typeface="Arial" charset="0"/>
              </a:rPr>
              <a:t>Od roku 2008 úzko spolupracujeme so Strednou odbornou školou polytechnickou v </a:t>
            </a:r>
            <a:r>
              <a:rPr lang="sk-SK" sz="1600" dirty="0" err="1">
                <a:solidFill>
                  <a:srgbClr val="00214C"/>
                </a:solidFill>
                <a:latin typeface="Arial" charset="0"/>
                <a:ea typeface="+mj-ea"/>
                <a:cs typeface="Arial" charset="0"/>
              </a:rPr>
              <a:t>Kňažej</a:t>
            </a:r>
            <a:r>
              <a:rPr lang="sk-SK" sz="1600" dirty="0">
                <a:solidFill>
                  <a:srgbClr val="00214C"/>
                </a:solidFill>
                <a:latin typeface="Arial" charset="0"/>
                <a:ea typeface="+mj-ea"/>
                <a:cs typeface="Arial" charset="0"/>
              </a:rPr>
              <a:t> v rámci Podporného a vzdelávacieho programu pre žiakov strojárskych odborov. Táto spolupráca vytvorila v roku 2015 podmienky pre zavedenie systému duálneho vzdelávania. Tento systém ešte viac skvalitnil výučbu žiakov. Vzdelávanie je súčasťou povinného praktického výcviku žiakov priamo na pôde dolnokubínskeho závodu s cieľom pripraviť si  žiakov ako zamestnancov na kľúčové výrobné pozície. </a:t>
            </a:r>
            <a:endParaRPr lang="sk-SK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25157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60517"/>
            <a:ext cx="9144000" cy="578485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9725" y="198993"/>
            <a:ext cx="6223000" cy="738664"/>
          </a:xfrm>
        </p:spPr>
        <p:txBody>
          <a:bodyPr/>
          <a:lstStyle/>
          <a:p>
            <a:pPr eaLnBrk="1" hangingPunct="1"/>
            <a:r>
              <a:rPr lang="sk-SK" dirty="0">
                <a:latin typeface="Arial" charset="0"/>
                <a:cs typeface="Arial" charset="0"/>
              </a:rPr>
              <a:t>Systém duálneho vzdelávania </a:t>
            </a:r>
            <a:br>
              <a:rPr lang="sk-SK" dirty="0">
                <a:latin typeface="Arial" charset="0"/>
                <a:cs typeface="Arial" charset="0"/>
              </a:rPr>
            </a:br>
            <a:r>
              <a:rPr lang="sk-SK" dirty="0">
                <a:latin typeface="Arial" charset="0"/>
                <a:cs typeface="Arial" charset="0"/>
              </a:rPr>
              <a:t>v spoločnosti Miba ponúka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325871" y="1324325"/>
            <a:ext cx="8402493" cy="2923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odborný výcvik na moderných strojoch a zariadeniach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široké možnosti osobného aj odborného rastu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výhodné pracovné podmienky (pracovné oblečenie, modrené didaktické pomôcky, stravovanie, ...)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príjemné pracovné prostredie (čistota, moderné stroje, ...)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poskytovanie štipendia počas troch rokov (40,- až 60,- € mesačne)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vyplácanie hodinovej mzdy počas celej doby odborného výcviku                  v spoločnosti Miba (3,25 €/hod., 3,55 €/hod.)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nie len vyučenie sa v odbore, ale aj možnosť získať pracovné miesto           v nadnárodnej spoločnosti</a:t>
            </a:r>
          </a:p>
        </p:txBody>
      </p:sp>
    </p:spTree>
    <p:extLst>
      <p:ext uri="{BB962C8B-B14F-4D97-AF65-F5344CB8AC3E}">
        <p14:creationId xmlns:p14="http://schemas.microsoft.com/office/powerpoint/2010/main" val="1160108034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32525"/>
            <a:ext cx="9144000" cy="578485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9725" y="383659"/>
            <a:ext cx="6223000" cy="369332"/>
          </a:xfrm>
        </p:spPr>
        <p:txBody>
          <a:bodyPr/>
          <a:lstStyle/>
          <a:p>
            <a:pPr eaLnBrk="1" hangingPunct="1"/>
            <a:r>
              <a:rPr lang="sk-SK" dirty="0">
                <a:latin typeface="Arial" charset="0"/>
                <a:cs typeface="Arial" charset="0"/>
              </a:rPr>
              <a:t>Čo očakávame od žiakov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325871" y="1493602"/>
            <a:ext cx="8402493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214C"/>
                </a:solidFill>
                <a:latin typeface="Arial" charset="0"/>
                <a:cs typeface="Arial" charset="0"/>
              </a:rPr>
              <a:t>záujem o techniku a manuálnu zručnosť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214C"/>
                </a:solidFill>
                <a:latin typeface="Arial" charset="0"/>
                <a:cs typeface="Arial" charset="0"/>
              </a:rPr>
              <a:t>záujem o počítače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214C"/>
                </a:solidFill>
                <a:latin typeface="Arial" charset="0"/>
                <a:cs typeface="Arial" charset="0"/>
              </a:rPr>
              <a:t>presnosť a svedomitosť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214C"/>
                </a:solidFill>
                <a:latin typeface="Arial" charset="0"/>
                <a:cs typeface="Arial" charset="0"/>
              </a:rPr>
              <a:t>zmysel pre zodpovednosť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214C"/>
                </a:solidFill>
                <a:latin typeface="Arial" charset="0"/>
                <a:cs typeface="Arial" charset="0"/>
              </a:rPr>
              <a:t>záujem o tímovú prácu,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214C"/>
                </a:solidFill>
                <a:latin typeface="Arial" charset="0"/>
                <a:cs typeface="Arial" charset="0"/>
              </a:rPr>
              <a:t>ochota vzdelávať a rozvíjať sa, </a:t>
            </a:r>
          </a:p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214C"/>
                </a:solidFill>
                <a:latin typeface="Arial" charset="0"/>
                <a:cs typeface="Arial" charset="0"/>
              </a:rPr>
              <a:t>rešpektovanie etických hodnôt. </a:t>
            </a:r>
            <a:endParaRPr lang="en-US" dirty="0">
              <a:solidFill>
                <a:srgbClr val="00214C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394802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32525"/>
            <a:ext cx="9144000" cy="578485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9725" y="198993"/>
            <a:ext cx="6223000" cy="738664"/>
          </a:xfrm>
        </p:spPr>
        <p:txBody>
          <a:bodyPr/>
          <a:lstStyle/>
          <a:p>
            <a:pPr eaLnBrk="1" hangingPunct="1"/>
            <a:r>
              <a:rPr lang="sk-SK" dirty="0">
                <a:latin typeface="Arial" charset="0"/>
                <a:cs typeface="Arial" charset="0"/>
              </a:rPr>
              <a:t>Ponúkane odbory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id="{07F6EB17-4310-44F5-984D-06F94F5B1BEF}"/>
              </a:ext>
            </a:extLst>
          </p:cNvPr>
          <p:cNvSpPr txBox="1"/>
          <p:nvPr/>
        </p:nvSpPr>
        <p:spPr>
          <a:xfrm>
            <a:off x="566928" y="1499616"/>
            <a:ext cx="779983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b="1" dirty="0"/>
              <a:t>Mechanik nastavovač – študijný, maturitná skúška</a:t>
            </a:r>
          </a:p>
          <a:p>
            <a:r>
              <a:rPr lang="sk-SK" sz="1600" dirty="0"/>
              <a:t>Naučíš sa nastavovať a obsluhovať konvenčné aj CNC obrábacie zariadenia; vytvoriť technologický postup výroby súčiastky podľa technického výkresu; používať meradlá v strojárstve; vytvárať program pre CNC obrábacie zariadenia a kresliť technické výkresy v PC</a:t>
            </a:r>
          </a:p>
        </p:txBody>
      </p:sp>
      <p:sp>
        <p:nvSpPr>
          <p:cNvPr id="9" name="BlokTextu 8">
            <a:extLst>
              <a:ext uri="{FF2B5EF4-FFF2-40B4-BE49-F238E27FC236}">
                <a16:creationId xmlns:a16="http://schemas.microsoft.com/office/drawing/2014/main" id="{67A17F70-2036-4F9D-836B-8FD5B48D2FBB}"/>
              </a:ext>
            </a:extLst>
          </p:cNvPr>
          <p:cNvSpPr txBox="1"/>
          <p:nvPr/>
        </p:nvSpPr>
        <p:spPr>
          <a:xfrm>
            <a:off x="566928" y="2988505"/>
            <a:ext cx="779983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b="1" dirty="0"/>
              <a:t>Mechanik </a:t>
            </a:r>
            <a:r>
              <a:rPr lang="sk-SK" b="1" dirty="0" err="1"/>
              <a:t>mechatronik</a:t>
            </a:r>
            <a:r>
              <a:rPr lang="sk-SK" b="1" dirty="0"/>
              <a:t> – študijný, maturitná skúška</a:t>
            </a:r>
          </a:p>
          <a:p>
            <a:r>
              <a:rPr lang="sk-SK" sz="1600" dirty="0"/>
              <a:t>Naučíš sa základy pre domové inštalácie a zapájanie elektrických obvodov podľa schém; opravovať elektrické a elektronické zariadenia; používať meradlá v elektrotechnike; nastavovať, ovládať a opravovať pneumatické a hydraulické pohony; diagnostikovať chyby na riadiacich jednotkách zariadení pomocou PLC; nastavovať, programovať a opravovať automatizované linky a roboty.</a:t>
            </a:r>
            <a:endParaRPr lang="sk-SK" sz="1600" b="1" dirty="0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E662ADA1-F7AD-46C0-9F49-4B2995DA95F2}"/>
              </a:ext>
            </a:extLst>
          </p:cNvPr>
          <p:cNvSpPr txBox="1"/>
          <p:nvPr/>
        </p:nvSpPr>
        <p:spPr>
          <a:xfrm>
            <a:off x="566928" y="5251701"/>
            <a:ext cx="811987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b="1" dirty="0"/>
              <a:t>Nástrojár – učebný, záverečná skúška</a:t>
            </a:r>
          </a:p>
          <a:p>
            <a:r>
              <a:rPr lang="sk-SK" sz="1600" dirty="0"/>
              <a:t>Naučíš sa nastavovať a obsluhovať konvenčné aj CNC obrábacie zariadenia; používať meradlá v strojárstve; vytvárať program pre CNC obrábacie zariadenia; skladať, opravovať a spravovať nástroje pre výrobné zariadenia podľa technickej dokumentácie.</a:t>
            </a:r>
            <a:endParaRPr lang="sk-SK" sz="1600" b="1" dirty="0"/>
          </a:p>
        </p:txBody>
      </p:sp>
    </p:spTree>
    <p:extLst>
      <p:ext uri="{BB962C8B-B14F-4D97-AF65-F5344CB8AC3E}">
        <p14:creationId xmlns:p14="http://schemas.microsoft.com/office/powerpoint/2010/main" val="2569237237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32525"/>
            <a:ext cx="9144000" cy="578485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9725" y="198993"/>
            <a:ext cx="6223000" cy="738664"/>
          </a:xfrm>
        </p:spPr>
        <p:txBody>
          <a:bodyPr/>
          <a:lstStyle/>
          <a:p>
            <a:pPr eaLnBrk="1" hangingPunct="1"/>
            <a:r>
              <a:rPr lang="sk-SK" dirty="0">
                <a:latin typeface="Arial" charset="0"/>
                <a:cs typeface="Arial" charset="0"/>
              </a:rPr>
              <a:t>Zapojenie sa do nášho systému duálneho vzdelávania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339725" y="1260932"/>
            <a:ext cx="840249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Vyplnenie a zaslanie žiadosti o prijatie do programu na adresu našej spoločnosti do 8.3.2024. </a:t>
            </a:r>
            <a:endParaRPr lang="sk-SK" sz="500" dirty="0">
              <a:solidFill>
                <a:srgbClr val="00214C"/>
              </a:solidFill>
              <a:latin typeface="Arial" charset="0"/>
              <a:cs typeface="Arial" charset="0"/>
            </a:endParaRPr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258E1A61-7A92-4C69-86E1-3C8F7A8DDC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725" y="2172721"/>
            <a:ext cx="4164657" cy="3963365"/>
          </a:xfrm>
          <a:prstGeom prst="rect">
            <a:avLst/>
          </a:prstGeom>
        </p:spPr>
      </p:pic>
      <p:pic>
        <p:nvPicPr>
          <p:cNvPr id="8" name="Obrázok 7">
            <a:extLst>
              <a:ext uri="{FF2B5EF4-FFF2-40B4-BE49-F238E27FC236}">
                <a16:creationId xmlns:a16="http://schemas.microsoft.com/office/drawing/2014/main" id="{2882DA9C-8CD5-4A4E-8AFA-469B0395911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6283" y="2172721"/>
            <a:ext cx="4111992" cy="3963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3710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32525"/>
            <a:ext cx="9144000" cy="578485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9725" y="198993"/>
            <a:ext cx="6223000" cy="738664"/>
          </a:xfrm>
        </p:spPr>
        <p:txBody>
          <a:bodyPr/>
          <a:lstStyle/>
          <a:p>
            <a:pPr eaLnBrk="1" hangingPunct="1"/>
            <a:r>
              <a:rPr lang="sk-SK" dirty="0">
                <a:latin typeface="Arial" charset="0"/>
                <a:cs typeface="Arial" charset="0"/>
              </a:rPr>
              <a:t>Zapojenie sa do nášho systému duálneho vzdelávania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339725" y="1544200"/>
            <a:ext cx="8402493" cy="1031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Absolvovanie výberového konania na pôde spoločnosti Miba </a:t>
            </a:r>
            <a:r>
              <a:rPr lang="sk-SK" sz="1900" dirty="0" err="1">
                <a:solidFill>
                  <a:srgbClr val="00214C"/>
                </a:solidFill>
                <a:latin typeface="Arial" charset="0"/>
                <a:cs typeface="Arial" charset="0"/>
              </a:rPr>
              <a:t>Sinter</a:t>
            </a:r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 Slovakia s.r.o.. Vybraným uchádzačom vydáme Potvrdenie o odbornom vzdelávaní, ktorý sa prikladá k prihláške na strednú školu.</a:t>
            </a:r>
          </a:p>
          <a:p>
            <a:pPr algn="just" eaLnBrk="1" hangingPunct="1"/>
            <a:endParaRPr lang="sk-SK" sz="500" dirty="0">
              <a:solidFill>
                <a:srgbClr val="00214C"/>
              </a:solidFill>
              <a:latin typeface="Arial" charset="0"/>
              <a:cs typeface="Arial" charset="0"/>
            </a:endParaRPr>
          </a:p>
          <a:p>
            <a:pPr algn="just" eaLnBrk="1" hangingPunct="1"/>
            <a:endParaRPr lang="sk-SK" sz="500" dirty="0">
              <a:solidFill>
                <a:srgbClr val="00214C"/>
              </a:solidFill>
              <a:latin typeface="Arial" charset="0"/>
              <a:cs typeface="Arial" charset="0"/>
            </a:endParaRPr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9EF437B8-F550-4428-A650-CA38D3691E8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0429" y="2575251"/>
            <a:ext cx="4011427" cy="4229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050371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32525"/>
            <a:ext cx="9144000" cy="578485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39725" y="198993"/>
            <a:ext cx="6223000" cy="738664"/>
          </a:xfrm>
        </p:spPr>
        <p:txBody>
          <a:bodyPr/>
          <a:lstStyle/>
          <a:p>
            <a:pPr eaLnBrk="1" hangingPunct="1"/>
            <a:r>
              <a:rPr lang="sk-SK" dirty="0">
                <a:latin typeface="Arial" charset="0"/>
                <a:cs typeface="Arial" charset="0"/>
              </a:rPr>
              <a:t>Zapojenie sa do nášho systému duálneho vzdelávania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339725" y="1982781"/>
            <a:ext cx="840249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endParaRPr lang="sk-SK" sz="500" dirty="0">
              <a:solidFill>
                <a:srgbClr val="00214C"/>
              </a:solidFill>
              <a:latin typeface="Arial" charset="0"/>
              <a:cs typeface="Arial" charset="0"/>
            </a:endParaRPr>
          </a:p>
          <a:p>
            <a:pPr algn="just" eaLnBrk="1" hangingPunct="1"/>
            <a:endParaRPr lang="sk-SK" sz="500" dirty="0">
              <a:solidFill>
                <a:srgbClr val="00214C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E308DFF3-5C77-40A1-917E-2AE28DB32D3C}"/>
              </a:ext>
            </a:extLst>
          </p:cNvPr>
          <p:cNvSpPr txBox="1">
            <a:spLocks/>
          </p:cNvSpPr>
          <p:nvPr/>
        </p:nvSpPr>
        <p:spPr bwMode="auto">
          <a:xfrm>
            <a:off x="339724" y="1845952"/>
            <a:ext cx="8402493" cy="1031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Prijatie na SOŠP </a:t>
            </a:r>
            <a:r>
              <a:rPr lang="sk-SK" sz="1900" dirty="0" err="1">
                <a:solidFill>
                  <a:srgbClr val="00214C"/>
                </a:solidFill>
                <a:latin typeface="Arial" charset="0"/>
                <a:cs typeface="Arial" charset="0"/>
              </a:rPr>
              <a:t>Kňažia</a:t>
            </a:r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 a úspešné ukončenie základnej školy.</a:t>
            </a:r>
          </a:p>
          <a:p>
            <a:pPr algn="just" eaLnBrk="1" hangingPunct="1"/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Počas letných prázdnin podpis učebných zmlúv.</a:t>
            </a:r>
          </a:p>
          <a:p>
            <a:pPr algn="just" eaLnBrk="1" hangingPunct="1"/>
            <a:r>
              <a:rPr lang="sk-SK" sz="1900" dirty="0">
                <a:solidFill>
                  <a:srgbClr val="00214C"/>
                </a:solidFill>
                <a:latin typeface="Arial" charset="0"/>
                <a:cs typeface="Arial" charset="0"/>
              </a:rPr>
              <a:t>Od druhého ročníka prax v spoločnosti</a:t>
            </a:r>
          </a:p>
          <a:p>
            <a:pPr algn="just" eaLnBrk="1" hangingPunct="1"/>
            <a:endParaRPr lang="sk-SK" sz="500" dirty="0">
              <a:solidFill>
                <a:srgbClr val="00214C"/>
              </a:solidFill>
              <a:latin typeface="Arial" charset="0"/>
              <a:cs typeface="Arial" charset="0"/>
            </a:endParaRPr>
          </a:p>
          <a:p>
            <a:pPr algn="just" eaLnBrk="1" hangingPunct="1"/>
            <a:endParaRPr lang="sk-SK" sz="500" dirty="0">
              <a:solidFill>
                <a:srgbClr val="00214C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5932754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 txBox="1">
            <a:spLocks noChangeArrowheads="1"/>
          </p:cNvSpPr>
          <p:nvPr/>
        </p:nvSpPr>
        <p:spPr bwMode="auto">
          <a:xfrm>
            <a:off x="395095" y="363660"/>
            <a:ext cx="75247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sk-SK" altLang="sk-SK" dirty="0"/>
              <a:t>Pohľad do spoločnosti </a:t>
            </a:r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38EBEF2C-9D86-4491-B166-4B5DFD59E39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129" y="1310007"/>
            <a:ext cx="3727341" cy="3207129"/>
          </a:xfrm>
          <a:prstGeom prst="rect">
            <a:avLst/>
          </a:prstGeom>
        </p:spPr>
      </p:pic>
      <p:pic>
        <p:nvPicPr>
          <p:cNvPr id="5" name="Obrázok 4">
            <a:extLst>
              <a:ext uri="{FF2B5EF4-FFF2-40B4-BE49-F238E27FC236}">
                <a16:creationId xmlns:a16="http://schemas.microsoft.com/office/drawing/2014/main" id="{59EB0B08-1D4E-4F31-B103-5815C5CA75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9955" y="2416316"/>
            <a:ext cx="4243916" cy="3224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09962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Bildplatzhalter 25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82766"/>
            <a:ext cx="9144000" cy="5784111"/>
          </a:xfrm>
        </p:spPr>
      </p:pic>
      <p:pic>
        <p:nvPicPr>
          <p:cNvPr id="27" name="Grafik 26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38"/>
          <a:stretch/>
        </p:blipFill>
        <p:spPr>
          <a:xfrm>
            <a:off x="5462650" y="5608868"/>
            <a:ext cx="2737154" cy="1015844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9824" y="3487264"/>
            <a:ext cx="4508280" cy="1561904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40237" y="383744"/>
            <a:ext cx="6223000" cy="369332"/>
          </a:xfrm>
        </p:spPr>
        <p:txBody>
          <a:bodyPr/>
          <a:lstStyle/>
          <a:p>
            <a:r>
              <a:rPr lang="sk-SK" dirty="0"/>
              <a:t>História spoločnosti Miba</a:t>
            </a:r>
          </a:p>
        </p:txBody>
      </p:sp>
      <p:sp>
        <p:nvSpPr>
          <p:cNvPr id="9" name="object 3"/>
          <p:cNvSpPr txBox="1">
            <a:spLocks noChangeArrowheads="1"/>
          </p:cNvSpPr>
          <p:nvPr/>
        </p:nvSpPr>
        <p:spPr bwMode="auto">
          <a:xfrm>
            <a:off x="126998" y="5749932"/>
            <a:ext cx="1639019" cy="103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550"/>
              </a:lnSpc>
            </a:pPr>
            <a:r>
              <a:rPr lang="sk-SK" sz="3000" noProof="1">
                <a:solidFill>
                  <a:schemeClr val="tx2"/>
                </a:solidFill>
                <a:cs typeface="Arial" pitchFamily="34" charset="0"/>
              </a:rPr>
              <a:t>1927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noProof="1">
                <a:solidFill>
                  <a:schemeClr val="tx2"/>
                </a:solidFill>
                <a:cs typeface="Arial" pitchFamily="34" charset="0"/>
              </a:rPr>
              <a:t>Franz Mitterbauer zakladá firmu </a:t>
            </a:r>
          </a:p>
          <a:p>
            <a:pPr algn="ctr" eaLnBrk="1" hangingPunct="1">
              <a:lnSpc>
                <a:spcPts val="1138"/>
              </a:lnSpc>
            </a:pPr>
            <a:endParaRPr lang="sk-SK" sz="12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0" name="object 4"/>
          <p:cNvSpPr txBox="1">
            <a:spLocks noChangeArrowheads="1"/>
          </p:cNvSpPr>
          <p:nvPr/>
        </p:nvSpPr>
        <p:spPr bwMode="auto">
          <a:xfrm>
            <a:off x="1727701" y="5749932"/>
            <a:ext cx="1602668" cy="103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550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1949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Štart činnosti </a:t>
            </a:r>
            <a:br>
              <a:rPr lang="sk-SK" sz="1200" dirty="0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v oblasti klzných ložísk </a:t>
            </a:r>
          </a:p>
          <a:p>
            <a:pPr algn="ctr" eaLnBrk="1" hangingPunct="1">
              <a:lnSpc>
                <a:spcPts val="1138"/>
              </a:lnSpc>
            </a:pPr>
            <a:endParaRPr lang="sk-SK" sz="12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1" name="object 5"/>
          <p:cNvSpPr txBox="1">
            <a:spLocks noChangeArrowheads="1"/>
          </p:cNvSpPr>
          <p:nvPr/>
        </p:nvSpPr>
        <p:spPr bwMode="auto">
          <a:xfrm>
            <a:off x="3439413" y="5749932"/>
            <a:ext cx="1302495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550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1955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Vznik značky Miba </a:t>
            </a:r>
          </a:p>
          <a:p>
            <a:pPr algn="ctr" eaLnBrk="1" hangingPunct="1">
              <a:lnSpc>
                <a:spcPts val="1138"/>
              </a:lnSpc>
            </a:pPr>
            <a:endParaRPr lang="sk-SK" sz="12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2" name="object 6"/>
          <p:cNvSpPr txBox="1">
            <a:spLocks noChangeArrowheads="1"/>
          </p:cNvSpPr>
          <p:nvPr/>
        </p:nvSpPr>
        <p:spPr bwMode="auto">
          <a:xfrm>
            <a:off x="4911248" y="5749932"/>
            <a:ext cx="1492758" cy="103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550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1963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Štart činnosti </a:t>
            </a:r>
            <a:br>
              <a:rPr lang="sk-SK" sz="1200" dirty="0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v oblasti spekania </a:t>
            </a:r>
          </a:p>
          <a:p>
            <a:pPr algn="ctr" eaLnBrk="1" hangingPunct="1">
              <a:lnSpc>
                <a:spcPts val="1138"/>
              </a:lnSpc>
            </a:pPr>
            <a:endParaRPr lang="sk-SK" sz="12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4" name="object 8"/>
          <p:cNvSpPr txBox="1">
            <a:spLocks noChangeArrowheads="1"/>
          </p:cNvSpPr>
          <p:nvPr/>
        </p:nvSpPr>
        <p:spPr bwMode="auto">
          <a:xfrm>
            <a:off x="7616987" y="4727771"/>
            <a:ext cx="1071734" cy="103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marL="127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ts val="3550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1986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Vstup </a:t>
            </a:r>
            <a:br>
              <a:rPr lang="sk-SK" sz="1200" dirty="0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na burzu</a:t>
            </a:r>
          </a:p>
          <a:p>
            <a:pPr eaLnBrk="1" hangingPunct="1">
              <a:lnSpc>
                <a:spcPts val="1138"/>
              </a:lnSpc>
            </a:pPr>
            <a:endParaRPr lang="de-DE" sz="12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5" name="object 9"/>
          <p:cNvSpPr txBox="1">
            <a:spLocks noChangeArrowheads="1"/>
          </p:cNvSpPr>
          <p:nvPr/>
        </p:nvSpPr>
        <p:spPr bwMode="auto">
          <a:xfrm>
            <a:off x="5574853" y="4727771"/>
            <a:ext cx="1614102" cy="103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550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1989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Začína sa medzinárodná expanzia </a:t>
            </a:r>
          </a:p>
          <a:p>
            <a:pPr algn="ctr" eaLnBrk="1" hangingPunct="1">
              <a:lnSpc>
                <a:spcPts val="1138"/>
              </a:lnSpc>
            </a:pPr>
            <a:endParaRPr lang="sk-SK" sz="12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6" name="object 10"/>
          <p:cNvSpPr txBox="1">
            <a:spLocks noChangeArrowheads="1"/>
          </p:cNvSpPr>
          <p:nvPr/>
        </p:nvSpPr>
        <p:spPr bwMode="auto">
          <a:xfrm>
            <a:off x="3661783" y="4727771"/>
            <a:ext cx="1896133" cy="89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550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2005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Štart činnosti </a:t>
            </a:r>
            <a:br>
              <a:rPr lang="sk-SK" sz="1200" dirty="0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v oblasti výroby povlakov</a:t>
            </a:r>
          </a:p>
        </p:txBody>
      </p:sp>
      <p:sp>
        <p:nvSpPr>
          <p:cNvPr id="17" name="object 11"/>
          <p:cNvSpPr txBox="1">
            <a:spLocks noChangeArrowheads="1"/>
          </p:cNvSpPr>
          <p:nvPr/>
        </p:nvSpPr>
        <p:spPr bwMode="auto">
          <a:xfrm>
            <a:off x="240604" y="3673827"/>
            <a:ext cx="3050974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488"/>
              </a:lnSpc>
            </a:pPr>
            <a:r>
              <a:rPr lang="sk-SK" sz="3000" noProof="1">
                <a:solidFill>
                  <a:schemeClr val="tx2"/>
                </a:solidFill>
                <a:cs typeface="Arial" pitchFamily="34" charset="0"/>
              </a:rPr>
              <a:t>2010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noProof="1">
                <a:solidFill>
                  <a:schemeClr val="tx2"/>
                </a:solidFill>
                <a:cs typeface="Arial" pitchFamily="34" charset="0"/>
              </a:rPr>
              <a:t>Akvizícia EBG, DAU a divízie </a:t>
            </a:r>
            <a:br>
              <a:rPr lang="sk-SK" sz="1200" noProof="1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noProof="1">
                <a:solidFill>
                  <a:schemeClr val="tx2"/>
                </a:solidFill>
                <a:cs typeface="Arial" pitchFamily="34" charset="0"/>
              </a:rPr>
              <a:t>trecích obložení Off-Highway Hoerbiger</a:t>
            </a:r>
          </a:p>
        </p:txBody>
      </p:sp>
      <p:sp>
        <p:nvSpPr>
          <p:cNvPr id="18" name="object 12"/>
          <p:cNvSpPr txBox="1">
            <a:spLocks noChangeArrowheads="1"/>
          </p:cNvSpPr>
          <p:nvPr/>
        </p:nvSpPr>
        <p:spPr bwMode="auto">
          <a:xfrm>
            <a:off x="3331840" y="3673827"/>
            <a:ext cx="1709827" cy="8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550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2011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noProof="1">
                <a:solidFill>
                  <a:schemeClr val="tx2"/>
                </a:solidFill>
                <a:cs typeface="Arial" pitchFamily="34" charset="0"/>
              </a:rPr>
              <a:t>Založenie skupiny</a:t>
            </a:r>
            <a:br>
              <a:rPr lang="sk-SK" sz="1200" noProof="1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noProof="1">
                <a:solidFill>
                  <a:schemeClr val="tx2"/>
                </a:solidFill>
                <a:cs typeface="Arial" pitchFamily="34" charset="0"/>
              </a:rPr>
              <a:t>Power Electronics</a:t>
            </a:r>
          </a:p>
        </p:txBody>
      </p:sp>
      <p:sp>
        <p:nvSpPr>
          <p:cNvPr id="19" name="object 13"/>
          <p:cNvSpPr txBox="1">
            <a:spLocks noChangeArrowheads="1"/>
          </p:cNvSpPr>
          <p:nvPr/>
        </p:nvSpPr>
        <p:spPr bwMode="auto">
          <a:xfrm>
            <a:off x="1767923" y="4727771"/>
            <a:ext cx="2005013" cy="89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550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2007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Otvorenie nových závodov </a:t>
            </a:r>
            <a:br>
              <a:rPr lang="sk-SK" sz="1200" dirty="0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v Číne a na Slovensku</a:t>
            </a:r>
          </a:p>
        </p:txBody>
      </p:sp>
      <p:sp>
        <p:nvSpPr>
          <p:cNvPr id="20" name="object 11"/>
          <p:cNvSpPr txBox="1">
            <a:spLocks noChangeArrowheads="1"/>
          </p:cNvSpPr>
          <p:nvPr/>
        </p:nvSpPr>
        <p:spPr bwMode="auto">
          <a:xfrm>
            <a:off x="5022116" y="3673827"/>
            <a:ext cx="2464969" cy="1017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488"/>
              </a:lnSpc>
            </a:pPr>
            <a:r>
              <a:rPr lang="sk-SK" sz="3000" noProof="1">
                <a:solidFill>
                  <a:schemeClr val="tx2"/>
                </a:solidFill>
                <a:cs typeface="Arial" pitchFamily="34" charset="0"/>
              </a:rPr>
              <a:t>2013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noProof="1">
                <a:solidFill>
                  <a:schemeClr val="tx2"/>
                </a:solidFill>
                <a:cs typeface="Arial" pitchFamily="34" charset="0"/>
              </a:rPr>
              <a:t>F. Peter Mitterbauer</a:t>
            </a:r>
            <a:br>
              <a:rPr lang="sk-SK" sz="1200" noProof="1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noProof="1">
                <a:solidFill>
                  <a:schemeClr val="tx2"/>
                </a:solidFill>
                <a:cs typeface="Arial" pitchFamily="34" charset="0"/>
              </a:rPr>
              <a:t>sa stáva predsedom predstavenstva </a:t>
            </a:r>
          </a:p>
          <a:p>
            <a:pPr algn="ctr" eaLnBrk="1" hangingPunct="1">
              <a:lnSpc>
                <a:spcPts val="1138"/>
              </a:lnSpc>
            </a:pPr>
            <a:endParaRPr lang="sk-SK" sz="12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21" name="object 11"/>
          <p:cNvSpPr txBox="1">
            <a:spLocks noChangeArrowheads="1"/>
          </p:cNvSpPr>
          <p:nvPr/>
        </p:nvSpPr>
        <p:spPr bwMode="auto">
          <a:xfrm>
            <a:off x="7221153" y="3242051"/>
            <a:ext cx="1786611" cy="876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488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2014</a:t>
            </a:r>
          </a:p>
          <a:p>
            <a:pPr algn="ctr" eaLnBrk="1" hangingPunct="1">
              <a:lnSpc>
                <a:spcPts val="1075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Rozšírenie závodov </a:t>
            </a:r>
          </a:p>
          <a:p>
            <a:pPr algn="ctr" eaLnBrk="1" hangingPunct="1">
              <a:lnSpc>
                <a:spcPts val="1075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v Číne a USA</a:t>
            </a:r>
          </a:p>
        </p:txBody>
      </p:sp>
      <p:sp>
        <p:nvSpPr>
          <p:cNvPr id="22" name="object 6"/>
          <p:cNvSpPr txBox="1">
            <a:spLocks noChangeArrowheads="1"/>
          </p:cNvSpPr>
          <p:nvPr/>
        </p:nvSpPr>
        <p:spPr bwMode="auto">
          <a:xfrm>
            <a:off x="6464776" y="5749932"/>
            <a:ext cx="1551311" cy="103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550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1975</a:t>
            </a:r>
          </a:p>
          <a:p>
            <a:pPr algn="ctr" eaLnBrk="1" hangingPunct="1">
              <a:lnSpc>
                <a:spcPts val="1138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Štart činnosti </a:t>
            </a:r>
            <a:br>
              <a:rPr lang="sk-SK" sz="1200" dirty="0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v oblasti trecích ložísk </a:t>
            </a:r>
          </a:p>
          <a:p>
            <a:pPr algn="ctr" eaLnBrk="1" hangingPunct="1">
              <a:lnSpc>
                <a:spcPts val="1138"/>
              </a:lnSpc>
            </a:pPr>
            <a:endParaRPr lang="sk-SK" sz="1200" dirty="0">
              <a:solidFill>
                <a:schemeClr val="tx2"/>
              </a:solidFill>
              <a:cs typeface="Arial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>
            <a:off x="8098094" y="2689503"/>
            <a:ext cx="45719" cy="55254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466" y="6588136"/>
            <a:ext cx="271273" cy="3657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155" y="6532500"/>
            <a:ext cx="149352" cy="11887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150" y="6541596"/>
            <a:ext cx="112776" cy="97536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9823" y="6341423"/>
            <a:ext cx="4106393" cy="302896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4535" y="4118427"/>
            <a:ext cx="2282784" cy="609344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3046" y="5438045"/>
            <a:ext cx="6564273" cy="180368"/>
          </a:xfrm>
          <a:prstGeom prst="rect">
            <a:avLst/>
          </a:prstGeom>
        </p:spPr>
      </p:pic>
      <p:grpSp>
        <p:nvGrpSpPr>
          <p:cNvPr id="31" name="Gruppieren 30"/>
          <p:cNvGrpSpPr/>
          <p:nvPr/>
        </p:nvGrpSpPr>
        <p:grpSpPr>
          <a:xfrm>
            <a:off x="5148064" y="6532500"/>
            <a:ext cx="249357" cy="118872"/>
            <a:chOff x="697150" y="6532500"/>
            <a:chExt cx="249357" cy="118872"/>
          </a:xfrm>
        </p:grpSpPr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155" y="6532500"/>
              <a:ext cx="149352" cy="118872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7150" y="6541596"/>
              <a:ext cx="112776" cy="97536"/>
            </a:xfrm>
            <a:prstGeom prst="rect">
              <a:avLst/>
            </a:prstGeom>
          </p:spPr>
        </p:pic>
      </p:grpSp>
      <p:grpSp>
        <p:nvGrpSpPr>
          <p:cNvPr id="34" name="Gruppieren 33"/>
          <p:cNvGrpSpPr/>
          <p:nvPr/>
        </p:nvGrpSpPr>
        <p:grpSpPr>
          <a:xfrm rot="16200000">
            <a:off x="1554430" y="5150427"/>
            <a:ext cx="249357" cy="118872"/>
            <a:chOff x="697150" y="6532500"/>
            <a:chExt cx="249357" cy="118872"/>
          </a:xfrm>
        </p:grpSpPr>
        <p:pic>
          <p:nvPicPr>
            <p:cNvPr id="35" name="Grafik 34"/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155" y="6532500"/>
              <a:ext cx="149352" cy="118872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7150" y="6541596"/>
              <a:ext cx="112776" cy="97536"/>
            </a:xfrm>
            <a:prstGeom prst="rect">
              <a:avLst/>
            </a:prstGeom>
          </p:spPr>
        </p:pic>
      </p:grpSp>
      <p:grpSp>
        <p:nvGrpSpPr>
          <p:cNvPr id="37" name="Gruppieren 36"/>
          <p:cNvGrpSpPr/>
          <p:nvPr/>
        </p:nvGrpSpPr>
        <p:grpSpPr>
          <a:xfrm rot="5400000">
            <a:off x="5598174" y="4419050"/>
            <a:ext cx="166553" cy="202678"/>
            <a:chOff x="8033251" y="2013656"/>
            <a:chExt cx="166553" cy="202678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33251" y="2013656"/>
              <a:ext cx="161544" cy="112776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38260" y="2109654"/>
              <a:ext cx="161544" cy="106680"/>
            </a:xfrm>
            <a:prstGeom prst="rect">
              <a:avLst/>
            </a:prstGeom>
          </p:spPr>
        </p:pic>
      </p:grpSp>
      <p:sp>
        <p:nvSpPr>
          <p:cNvPr id="41" name="object 11"/>
          <p:cNvSpPr txBox="1">
            <a:spLocks noChangeArrowheads="1"/>
          </p:cNvSpPr>
          <p:nvPr/>
        </p:nvSpPr>
        <p:spPr bwMode="auto">
          <a:xfrm>
            <a:off x="7221153" y="1932452"/>
            <a:ext cx="1786611" cy="876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488"/>
              </a:lnSpc>
            </a:pPr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2015</a:t>
            </a:r>
          </a:p>
          <a:p>
            <a:pPr algn="ctr" eaLnBrk="1" hangingPunct="1">
              <a:lnSpc>
                <a:spcPts val="1075"/>
              </a:lnSpc>
            </a:pP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Ukončenie kótovania </a:t>
            </a:r>
            <a:br>
              <a:rPr lang="sk-SK" sz="1200" dirty="0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na burze</a:t>
            </a:r>
          </a:p>
        </p:txBody>
      </p:sp>
      <p:sp>
        <p:nvSpPr>
          <p:cNvPr id="42" name="object 11"/>
          <p:cNvSpPr txBox="1">
            <a:spLocks noChangeArrowheads="1"/>
          </p:cNvSpPr>
          <p:nvPr/>
        </p:nvSpPr>
        <p:spPr bwMode="auto">
          <a:xfrm>
            <a:off x="5865546" y="856893"/>
            <a:ext cx="2056264" cy="1161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sk-SK" sz="3000" dirty="0">
                <a:solidFill>
                  <a:schemeClr val="tx2"/>
                </a:solidFill>
                <a:cs typeface="Arial" pitchFamily="34" charset="0"/>
              </a:rPr>
              <a:t>2017</a:t>
            </a:r>
          </a:p>
          <a:p>
            <a:pPr algn="ctr" eaLnBrk="1" hangingPunct="1"/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Otvorenie Miba Fóra </a:t>
            </a:r>
            <a:br>
              <a:rPr lang="sk-SK" sz="1200" dirty="0">
                <a:solidFill>
                  <a:schemeClr val="tx2"/>
                </a:solidFill>
                <a:cs typeface="Arial" pitchFamily="34" charset="0"/>
              </a:rPr>
            </a:br>
            <a:r>
              <a:rPr lang="sk-SK" sz="1200" dirty="0">
                <a:solidFill>
                  <a:schemeClr val="tx2"/>
                </a:solidFill>
                <a:cs typeface="Arial" pitchFamily="34" charset="0"/>
              </a:rPr>
              <a:t>pri príležitosti 90. výročia založenia podniku </a:t>
            </a:r>
          </a:p>
        </p:txBody>
      </p:sp>
      <p:grpSp>
        <p:nvGrpSpPr>
          <p:cNvPr id="43" name="Gruppieren 42"/>
          <p:cNvGrpSpPr/>
          <p:nvPr/>
        </p:nvGrpSpPr>
        <p:grpSpPr>
          <a:xfrm rot="16200000">
            <a:off x="4322516" y="2080103"/>
            <a:ext cx="166553" cy="202678"/>
            <a:chOff x="8033251" y="2013656"/>
            <a:chExt cx="166553" cy="202678"/>
          </a:xfrm>
        </p:grpSpPr>
        <p:pic>
          <p:nvPicPr>
            <p:cNvPr id="44" name="Grafik 43"/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33251" y="2013656"/>
              <a:ext cx="161544" cy="112776"/>
            </a:xfrm>
            <a:prstGeom prst="rect">
              <a:avLst/>
            </a:prstGeom>
          </p:spPr>
        </p:pic>
        <p:pic>
          <p:nvPicPr>
            <p:cNvPr id="45" name="Grafik 44"/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38260" y="2109654"/>
              <a:ext cx="161544" cy="106680"/>
            </a:xfrm>
            <a:prstGeom prst="rect">
              <a:avLst/>
            </a:prstGeom>
          </p:spPr>
        </p:pic>
      </p:grpSp>
      <p:pic>
        <p:nvPicPr>
          <p:cNvPr id="47" name="Grafik 46"/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" r="-660164"/>
          <a:stretch/>
        </p:blipFill>
        <p:spPr>
          <a:xfrm rot="16200000">
            <a:off x="6769063" y="1361811"/>
            <a:ext cx="273615" cy="1388007"/>
          </a:xfrm>
          <a:prstGeom prst="rect">
            <a:avLst/>
          </a:prstGeom>
        </p:spPr>
      </p:pic>
      <p:pic>
        <p:nvPicPr>
          <p:cNvPr id="48" name="Grafik 47"/>
          <p:cNvPicPr>
            <a:picLocks noChangeAspect="1"/>
          </p:cNvPicPr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" t="-1" r="-27018" b="48469"/>
          <a:stretch/>
        </p:blipFill>
        <p:spPr>
          <a:xfrm rot="16200000">
            <a:off x="5353540" y="1334575"/>
            <a:ext cx="45719" cy="1670936"/>
          </a:xfrm>
          <a:prstGeom prst="rect">
            <a:avLst/>
          </a:prstGeom>
        </p:spPr>
      </p:pic>
      <p:sp>
        <p:nvSpPr>
          <p:cNvPr id="49" name="object 11"/>
          <p:cNvSpPr txBox="1">
            <a:spLocks noChangeArrowheads="1"/>
          </p:cNvSpPr>
          <p:nvPr/>
        </p:nvSpPr>
        <p:spPr bwMode="auto">
          <a:xfrm>
            <a:off x="3374024" y="856893"/>
            <a:ext cx="2157394" cy="13585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4400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ts val="3488"/>
              </a:lnSpc>
            </a:pPr>
            <a:r>
              <a:rPr lang="de-DE" sz="3000" dirty="0">
                <a:solidFill>
                  <a:schemeClr val="tx2"/>
                </a:solidFill>
                <a:cs typeface="Arial" pitchFamily="34" charset="0"/>
              </a:rPr>
              <a:t>201</a:t>
            </a:r>
            <a:r>
              <a:rPr lang="de-AT" sz="3000" dirty="0">
                <a:solidFill>
                  <a:schemeClr val="tx2"/>
                </a:solidFill>
                <a:cs typeface="Arial" pitchFamily="34" charset="0"/>
              </a:rPr>
              <a:t>8</a:t>
            </a:r>
            <a:endParaRPr lang="de-DE" sz="3000" dirty="0">
              <a:solidFill>
                <a:schemeClr val="tx2"/>
              </a:solidFill>
              <a:cs typeface="Arial" pitchFamily="34" charset="0"/>
            </a:endParaRPr>
          </a:p>
          <a:p>
            <a:pPr algn="ctr" eaLnBrk="1" hangingPunct="1">
              <a:spcBef>
                <a:spcPts val="200"/>
              </a:spcBef>
            </a:pP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Začiatok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činnosti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v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oblasti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priemyselných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klzných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ložísk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akvizíciou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divízie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Bearing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od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</a:t>
            </a:r>
            <a:r>
              <a:rPr lang="de-DE" sz="1200" dirty="0" err="1">
                <a:solidFill>
                  <a:schemeClr val="tx2"/>
                </a:solidFill>
                <a:cs typeface="Arial" pitchFamily="34" charset="0"/>
              </a:rPr>
              <a:t>spoločnosti</a:t>
            </a:r>
            <a:r>
              <a:rPr lang="de-DE" sz="1200" dirty="0">
                <a:solidFill>
                  <a:schemeClr val="tx2"/>
                </a:solidFill>
                <a:cs typeface="Arial" pitchFamily="34" charset="0"/>
              </a:rPr>
              <a:t> John Crane</a:t>
            </a:r>
          </a:p>
        </p:txBody>
      </p:sp>
    </p:spTree>
    <p:extLst>
      <p:ext uri="{BB962C8B-B14F-4D97-AF65-F5344CB8AC3E}">
        <p14:creationId xmlns:p14="http://schemas.microsoft.com/office/powerpoint/2010/main" val="2294572419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 txBox="1">
            <a:spLocks noChangeArrowheads="1"/>
          </p:cNvSpPr>
          <p:nvPr/>
        </p:nvSpPr>
        <p:spPr bwMode="auto">
          <a:xfrm>
            <a:off x="395095" y="363660"/>
            <a:ext cx="75247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sk-SK" altLang="sk-SK" dirty="0"/>
              <a:t>Pohľad do spoločnosti </a:t>
            </a:r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A34C83FE-6478-47DC-B5D0-F8B62DF62F0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665" y="1362836"/>
            <a:ext cx="3414805" cy="4507039"/>
          </a:xfrm>
          <a:prstGeom prst="rect">
            <a:avLst/>
          </a:prstGeom>
        </p:spPr>
      </p:pic>
      <p:pic>
        <p:nvPicPr>
          <p:cNvPr id="9" name="Obrázok 8">
            <a:extLst>
              <a:ext uri="{FF2B5EF4-FFF2-40B4-BE49-F238E27FC236}">
                <a16:creationId xmlns:a16="http://schemas.microsoft.com/office/drawing/2014/main" id="{06E2D920-CA75-4167-A789-AE63C66664E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8812" y="1839416"/>
            <a:ext cx="3414804" cy="4771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714646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 txBox="1">
            <a:spLocks noChangeArrowheads="1"/>
          </p:cNvSpPr>
          <p:nvPr/>
        </p:nvSpPr>
        <p:spPr bwMode="auto">
          <a:xfrm>
            <a:off x="395095" y="363660"/>
            <a:ext cx="75247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sk-SK" altLang="sk-SK" dirty="0"/>
              <a:t>Pohľad do spoločnosti </a:t>
            </a:r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4469CE28-4A7C-4B70-8953-E7217082640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545" y="1333344"/>
            <a:ext cx="3981855" cy="4866288"/>
          </a:xfrm>
          <a:prstGeom prst="rect">
            <a:avLst/>
          </a:prstGeom>
        </p:spPr>
      </p:pic>
      <p:pic>
        <p:nvPicPr>
          <p:cNvPr id="5" name="Obrázok 4">
            <a:extLst>
              <a:ext uri="{FF2B5EF4-FFF2-40B4-BE49-F238E27FC236}">
                <a16:creationId xmlns:a16="http://schemas.microsoft.com/office/drawing/2014/main" id="{5DAB71F5-5AC8-485A-ABF9-7B469D832D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1728" y="1716571"/>
            <a:ext cx="4307588" cy="500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458514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 txBox="1">
            <a:spLocks noChangeArrowheads="1"/>
          </p:cNvSpPr>
          <p:nvPr/>
        </p:nvSpPr>
        <p:spPr bwMode="auto">
          <a:xfrm>
            <a:off x="395095" y="255939"/>
            <a:ext cx="75247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sk-SK" altLang="sk-SK" dirty="0"/>
              <a:t>Pohľad do spoločnosti </a:t>
            </a:r>
          </a:p>
          <a:p>
            <a:pPr eaLnBrk="1" hangingPunct="1"/>
            <a:r>
              <a:rPr lang="sk-SK" altLang="sk-SK" sz="1400" dirty="0"/>
              <a:t>Nová učebňa pre výuku programovania CNC, hydrauliky a pneumatiky</a:t>
            </a:r>
            <a:endParaRPr lang="en-GB" altLang="sk-SK" sz="1400" dirty="0"/>
          </a:p>
        </p:txBody>
      </p:sp>
      <p:pic>
        <p:nvPicPr>
          <p:cNvPr id="7" name="Picture 3" descr="C:\Users\michalikovaan\Desktop\P1111218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2000" y="1302777"/>
            <a:ext cx="4336018" cy="250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Obrázok 2">
            <a:extLst>
              <a:ext uri="{FF2B5EF4-FFF2-40B4-BE49-F238E27FC236}">
                <a16:creationId xmlns:a16="http://schemas.microsoft.com/office/drawing/2014/main" id="{1D3E3CF3-BF63-4398-BE99-EBFD2042EED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712" y="4014216"/>
            <a:ext cx="4187952" cy="2714509"/>
          </a:xfrm>
          <a:prstGeom prst="rect">
            <a:avLst/>
          </a:prstGeom>
        </p:spPr>
      </p:pic>
      <p:pic>
        <p:nvPicPr>
          <p:cNvPr id="6" name="Obrázok 5">
            <a:extLst>
              <a:ext uri="{FF2B5EF4-FFF2-40B4-BE49-F238E27FC236}">
                <a16:creationId xmlns:a16="http://schemas.microsoft.com/office/drawing/2014/main" id="{B2DFF697-0208-42E0-84EC-49FFAC085FE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406" y="1302777"/>
            <a:ext cx="4179875" cy="250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465856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 txBox="1">
            <a:spLocks noChangeArrowheads="1"/>
          </p:cNvSpPr>
          <p:nvPr/>
        </p:nvSpPr>
        <p:spPr bwMode="auto">
          <a:xfrm>
            <a:off x="395095" y="255939"/>
            <a:ext cx="75247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sk-SK" altLang="sk-SK" dirty="0"/>
              <a:t>Pohľad do spoločnosti </a:t>
            </a:r>
          </a:p>
          <a:p>
            <a:pPr eaLnBrk="1" hangingPunct="1"/>
            <a:r>
              <a:rPr lang="sk-SK" altLang="sk-SK" sz="1400" dirty="0"/>
              <a:t>Praktická časť maturitnej skúšky</a:t>
            </a:r>
            <a:endParaRPr lang="en-GB" altLang="sk-SK" sz="1400" dirty="0"/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67AB5679-D1D0-45A0-94AE-2D05B7B064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6333" y="3879684"/>
            <a:ext cx="3523892" cy="2182788"/>
          </a:xfrm>
          <a:prstGeom prst="rect">
            <a:avLst/>
          </a:prstGeom>
        </p:spPr>
      </p:pic>
      <p:pic>
        <p:nvPicPr>
          <p:cNvPr id="6" name="Obrázok 5">
            <a:extLst>
              <a:ext uri="{FF2B5EF4-FFF2-40B4-BE49-F238E27FC236}">
                <a16:creationId xmlns:a16="http://schemas.microsoft.com/office/drawing/2014/main" id="{21E72713-D26F-4728-AA67-B3156FC7104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648" y="3879684"/>
            <a:ext cx="3525021" cy="2182788"/>
          </a:xfrm>
          <a:prstGeom prst="rect">
            <a:avLst/>
          </a:prstGeom>
        </p:spPr>
      </p:pic>
      <p:pic>
        <p:nvPicPr>
          <p:cNvPr id="11" name="Obrázok 10">
            <a:extLst>
              <a:ext uri="{FF2B5EF4-FFF2-40B4-BE49-F238E27FC236}">
                <a16:creationId xmlns:a16="http://schemas.microsoft.com/office/drawing/2014/main" id="{9B322F24-E22E-4CF9-82A3-357355F7797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6333" y="1239916"/>
            <a:ext cx="3523892" cy="2447040"/>
          </a:xfrm>
          <a:prstGeom prst="rect">
            <a:avLst/>
          </a:prstGeom>
        </p:spPr>
      </p:pic>
      <p:pic>
        <p:nvPicPr>
          <p:cNvPr id="13" name="Obrázok 12">
            <a:extLst>
              <a:ext uri="{FF2B5EF4-FFF2-40B4-BE49-F238E27FC236}">
                <a16:creationId xmlns:a16="http://schemas.microsoft.com/office/drawing/2014/main" id="{BF7AD12A-9006-4498-8516-BA979FE93E4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396" y="1214155"/>
            <a:ext cx="3438144" cy="2472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92906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2909" y="2982897"/>
            <a:ext cx="5166804" cy="3875103"/>
          </a:xfrm>
          <a:prstGeom prst="rect">
            <a:avLst/>
          </a:prstGeom>
        </p:spPr>
      </p:pic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10" name="Rectangle 17"/>
          <p:cNvSpPr txBox="1">
            <a:spLocks noChangeArrowheads="1"/>
          </p:cNvSpPr>
          <p:nvPr/>
        </p:nvSpPr>
        <p:spPr bwMode="auto">
          <a:xfrm>
            <a:off x="395095" y="255939"/>
            <a:ext cx="75247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sk-SK" altLang="sk-SK" dirty="0"/>
              <a:t>Výmenná letná stáž žiakov </a:t>
            </a:r>
          </a:p>
          <a:p>
            <a:pPr eaLnBrk="1" hangingPunct="1"/>
            <a:r>
              <a:rPr lang="sk-SK" altLang="sk-SK" sz="1400" dirty="0"/>
              <a:t>Konala sa pred rokom 2019 v MIBA </a:t>
            </a:r>
            <a:r>
              <a:rPr lang="sk-SK" altLang="sk-SK" sz="1400" dirty="0" err="1"/>
              <a:t>Austria</a:t>
            </a:r>
            <a:endParaRPr lang="en-GB" altLang="sk-SK" sz="1400" dirty="0"/>
          </a:p>
        </p:txBody>
      </p:sp>
      <p:pic>
        <p:nvPicPr>
          <p:cNvPr id="2" name="Obrázok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875" y="1207363"/>
            <a:ext cx="5287503" cy="329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941349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26095E-F17B-4059-9056-EA33FC56B97A}" type="slidenum">
              <a:rPr lang="de-DE" smtClean="0"/>
              <a:pPr/>
              <a:t>25</a:t>
            </a:fld>
            <a:endParaRPr lang="de-DE"/>
          </a:p>
        </p:txBody>
      </p:sp>
      <p:pic>
        <p:nvPicPr>
          <p:cNvPr id="7" name="Obrázok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967" y="1182164"/>
            <a:ext cx="4347177" cy="3124760"/>
          </a:xfrm>
          <a:prstGeom prst="rect">
            <a:avLst/>
          </a:prstGeom>
        </p:spPr>
      </p:pic>
      <p:pic>
        <p:nvPicPr>
          <p:cNvPr id="2" name="Obrázok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6593" y="3258105"/>
            <a:ext cx="4255363" cy="3191522"/>
          </a:xfrm>
          <a:prstGeom prst="rect">
            <a:avLst/>
          </a:prstGeom>
        </p:spPr>
      </p:pic>
      <p:sp>
        <p:nvSpPr>
          <p:cNvPr id="8" name="Rectangle 17">
            <a:extLst>
              <a:ext uri="{FF2B5EF4-FFF2-40B4-BE49-F238E27FC236}">
                <a16:creationId xmlns:a16="http://schemas.microsoft.com/office/drawing/2014/main" id="{500CCBCC-4250-4D8D-92DA-58B96EA8BC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095" y="255939"/>
            <a:ext cx="75247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sk-SK" altLang="sk-SK" dirty="0"/>
              <a:t>Výmenná letná stáž žiakov </a:t>
            </a:r>
          </a:p>
          <a:p>
            <a:pPr eaLnBrk="1" hangingPunct="1"/>
            <a:r>
              <a:rPr lang="sk-SK" altLang="sk-SK" sz="1400" dirty="0"/>
              <a:t>Konala sa pred rokom 2019 v MIBA </a:t>
            </a:r>
            <a:r>
              <a:rPr lang="sk-SK" altLang="sk-SK" sz="1400" dirty="0" err="1"/>
              <a:t>Austria</a:t>
            </a:r>
            <a:endParaRPr lang="en-GB" altLang="sk-SK" sz="1400" dirty="0"/>
          </a:p>
        </p:txBody>
      </p:sp>
    </p:spTree>
    <p:extLst>
      <p:ext uri="{BB962C8B-B14F-4D97-AF65-F5344CB8AC3E}">
        <p14:creationId xmlns:p14="http://schemas.microsoft.com/office/powerpoint/2010/main" val="4076056963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 txBox="1">
            <a:spLocks noChangeArrowheads="1"/>
          </p:cNvSpPr>
          <p:nvPr/>
        </p:nvSpPr>
        <p:spPr bwMode="auto">
          <a:xfrm>
            <a:off x="395095" y="234004"/>
            <a:ext cx="752475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sk-SK" altLang="sk-SK" dirty="0"/>
              <a:t>Ukončenie štúdia</a:t>
            </a:r>
          </a:p>
          <a:p>
            <a:pPr eaLnBrk="1" hangingPunct="1"/>
            <a:r>
              <a:rPr lang="sk-SK" altLang="sk-SK" sz="1200" dirty="0"/>
              <a:t>Pri dosiahnutí požadovaných výsledkov možnosť získania osvedčenia SOPK</a:t>
            </a:r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17BEBB67-C0EA-4D5C-B2B3-C1C0EFB169E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237" y="1917953"/>
            <a:ext cx="5339614" cy="3022093"/>
          </a:xfrm>
          <a:prstGeom prst="rect">
            <a:avLst/>
          </a:prstGeom>
        </p:spPr>
      </p:pic>
      <p:pic>
        <p:nvPicPr>
          <p:cNvPr id="8" name="Obrázok 7">
            <a:extLst>
              <a:ext uri="{FF2B5EF4-FFF2-40B4-BE49-F238E27FC236}">
                <a16:creationId xmlns:a16="http://schemas.microsoft.com/office/drawing/2014/main" id="{93F14173-B1ED-47BE-BF0A-37B53230253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9198" y="1552192"/>
            <a:ext cx="2833716" cy="3753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470949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/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095" y="1357912"/>
            <a:ext cx="4067177" cy="2026406"/>
          </a:xfrm>
          <a:prstGeom prst="rect">
            <a:avLst/>
          </a:prstGeom>
        </p:spPr>
      </p:pic>
      <p:pic>
        <p:nvPicPr>
          <p:cNvPr id="3" name="Obrázok 2"/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6965" y="3684629"/>
            <a:ext cx="4254436" cy="2523131"/>
          </a:xfrm>
          <a:prstGeom prst="rect">
            <a:avLst/>
          </a:prstGeom>
        </p:spPr>
      </p:pic>
      <p:pic>
        <p:nvPicPr>
          <p:cNvPr id="4" name="Obrázok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7076" y="3684629"/>
            <a:ext cx="3699959" cy="2523131"/>
          </a:xfrm>
          <a:prstGeom prst="rect">
            <a:avLst/>
          </a:prstGeom>
        </p:spPr>
      </p:pic>
      <p:sp>
        <p:nvSpPr>
          <p:cNvPr id="10" name="Rectangle 17"/>
          <p:cNvSpPr txBox="1">
            <a:spLocks noChangeArrowheads="1"/>
          </p:cNvSpPr>
          <p:nvPr/>
        </p:nvSpPr>
        <p:spPr bwMode="auto">
          <a:xfrm>
            <a:off x="395095" y="218616"/>
            <a:ext cx="752475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sk-SK" altLang="sk-SK" dirty="0"/>
              <a:t>Aktivity/Čo ponúkame</a:t>
            </a:r>
          </a:p>
          <a:p>
            <a:pPr eaLnBrk="1" hangingPunct="1"/>
            <a:r>
              <a:rPr lang="sk-SK" altLang="sk-SK" sz="1400" dirty="0"/>
              <a:t>Odborné praxe, Exkurzie, Technický </a:t>
            </a:r>
            <a:r>
              <a:rPr lang="sk-SK" altLang="sk-SK" sz="1400" dirty="0" err="1"/>
              <a:t>šikula</a:t>
            </a:r>
            <a:r>
              <a:rPr lang="sk-SK" altLang="sk-SK" sz="1400" dirty="0"/>
              <a:t>, Mladý tvorca, Burza stredných škôl</a:t>
            </a:r>
            <a:endParaRPr lang="en-GB" altLang="sk-SK" sz="1400" dirty="0"/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B6737B09-33B5-408B-A675-AC0D1A3B30C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0087" y="1357912"/>
            <a:ext cx="3966948" cy="202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56024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1" name="Titel 1"/>
          <p:cNvSpPr>
            <a:spLocks noGrp="1"/>
          </p:cNvSpPr>
          <p:nvPr>
            <p:ph type="title"/>
          </p:nvPr>
        </p:nvSpPr>
        <p:spPr>
          <a:xfrm>
            <a:off x="339725" y="384175"/>
            <a:ext cx="6223000" cy="368300"/>
          </a:xfrm>
        </p:spPr>
        <p:txBody>
          <a:bodyPr/>
          <a:lstStyle/>
          <a:p>
            <a:pPr eaLnBrk="1" hangingPunct="1"/>
            <a:r>
              <a:rPr lang="en-US" dirty="0">
                <a:latin typeface="Arial" charset="0"/>
                <a:cs typeface="Arial" charset="0"/>
              </a:rPr>
              <a:t>Miba 2020 – Dynamic Evolution</a:t>
            </a:r>
          </a:p>
        </p:txBody>
      </p:sp>
      <p:sp>
        <p:nvSpPr>
          <p:cNvPr id="250882" name="Bildplatzhalter 2"/>
          <p:cNvSpPr>
            <a:spLocks noGrp="1"/>
          </p:cNvSpPr>
          <p:nvPr>
            <p:ph type="pic" sz="quarter" idx="10"/>
          </p:nvPr>
        </p:nvSpPr>
        <p:spPr bwMode="auto">
          <a:xfrm>
            <a:off x="0" y="1073150"/>
            <a:ext cx="9144000" cy="5784850"/>
          </a:xfrm>
          <a:noFill/>
          <a:ln>
            <a:miter lim="800000"/>
            <a:headEnd/>
            <a:tailEnd/>
          </a:ln>
        </p:spPr>
      </p:sp>
      <p:pic>
        <p:nvPicPr>
          <p:cNvPr id="250883" name="Bildplatzhalter 4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73150"/>
            <a:ext cx="9144000" cy="578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84" name="Grafik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900" y="1243013"/>
            <a:ext cx="304006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85" name="Grafik 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84488" y="1857375"/>
            <a:ext cx="966787" cy="250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86" name="Grafik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36738" y="1803400"/>
            <a:ext cx="977900" cy="253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87" name="Grafik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875" y="1797050"/>
            <a:ext cx="989013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88" name="Grafik 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7075" y="4346575"/>
            <a:ext cx="3116263" cy="70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89" name="Grafik 9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1363" y="5011738"/>
            <a:ext cx="3086100" cy="163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90" name="Grafik 10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1888" y="5129213"/>
            <a:ext cx="46037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91" name="Grafik 11"/>
          <p:cNvPicPr>
            <a:picLocks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4113" y="5840413"/>
            <a:ext cx="9144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92" name="Grafik 12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 rot="10800000">
            <a:off x="3965575" y="5002213"/>
            <a:ext cx="2149475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93" name="Grafik 13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 flipV="1">
            <a:off x="2039938" y="6072188"/>
            <a:ext cx="1998662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94" name="Grafik 14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4250" y="5754688"/>
            <a:ext cx="44450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0895" name="Grafik 15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1550" y="6462713"/>
            <a:ext cx="2052638" cy="21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0896" name="Wurzel 1"/>
          <p:cNvSpPr txBox="1">
            <a:spLocks noChangeArrowheads="1"/>
          </p:cNvSpPr>
          <p:nvPr/>
        </p:nvSpPr>
        <p:spPr bwMode="auto">
          <a:xfrm>
            <a:off x="7088188" y="5857875"/>
            <a:ext cx="2030412" cy="66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pPr algn="ctr"/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Rýchlosť a agilnosť</a:t>
            </a:r>
            <a: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 – </a:t>
            </a:r>
            <a:b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</a:br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rýchlejšie a lepšie ako konkurencia</a:t>
            </a:r>
            <a:endParaRPr lang="en-US" altLang="de-DE" sz="1100" dirty="0">
              <a:solidFill>
                <a:schemeClr val="tx2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50897" name="Wurzel 2"/>
          <p:cNvSpPr txBox="1">
            <a:spLocks noChangeArrowheads="1"/>
          </p:cNvSpPr>
          <p:nvPr/>
        </p:nvSpPr>
        <p:spPr bwMode="auto">
          <a:xfrm>
            <a:off x="5087937" y="5138738"/>
            <a:ext cx="2179761" cy="6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pPr algn="ctr"/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Zásada ocenenia podľa  výkonu</a:t>
            </a:r>
            <a: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 – </a:t>
            </a:r>
            <a:b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</a:br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snaha po vysokom výkone a dôslednej realizácii</a:t>
            </a:r>
            <a:endParaRPr lang="en-US" altLang="de-DE" sz="1100" dirty="0">
              <a:solidFill>
                <a:schemeClr val="tx2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50898" name="Wurzel 3"/>
          <p:cNvSpPr txBox="1">
            <a:spLocks noChangeArrowheads="1"/>
          </p:cNvSpPr>
          <p:nvPr/>
        </p:nvSpPr>
        <p:spPr bwMode="auto">
          <a:xfrm>
            <a:off x="4805363" y="5986463"/>
            <a:ext cx="2565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pPr algn="ctr"/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Veľké ciele</a:t>
            </a:r>
            <a: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 –</a:t>
            </a:r>
          </a:p>
          <a:p>
            <a:pPr algn="ctr"/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nemožné urobme možným</a:t>
            </a:r>
            <a:endParaRPr lang="en-US" altLang="de-DE" sz="1100" dirty="0">
              <a:solidFill>
                <a:schemeClr val="tx2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50899" name="Wurzel 4"/>
          <p:cNvSpPr txBox="1">
            <a:spLocks noChangeArrowheads="1"/>
          </p:cNvSpPr>
          <p:nvPr/>
        </p:nvSpPr>
        <p:spPr bwMode="auto">
          <a:xfrm>
            <a:off x="2490272" y="5348288"/>
            <a:ext cx="2597666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pPr algn="ctr"/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Zvedavosť a túžba po vedomostiach </a:t>
            </a:r>
            <a: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 – </a:t>
            </a:r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tvorivosť každého jednotlivca ako motor inovácií</a:t>
            </a:r>
            <a:endParaRPr lang="en-US" altLang="de-DE" sz="1100" dirty="0">
              <a:solidFill>
                <a:schemeClr val="tx2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50900" name="Wurzel 5"/>
          <p:cNvSpPr txBox="1">
            <a:spLocks noChangeArrowheads="1"/>
          </p:cNvSpPr>
          <p:nvPr/>
        </p:nvSpPr>
        <p:spPr bwMode="auto">
          <a:xfrm>
            <a:off x="1044575" y="5986463"/>
            <a:ext cx="2030413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pPr algn="ctr"/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Podnikateľské konanie</a:t>
            </a:r>
            <a: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 –</a:t>
            </a:r>
            <a:b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</a:br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odvaha prijímať rozhodnutia</a:t>
            </a:r>
            <a: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 </a:t>
            </a:r>
          </a:p>
        </p:txBody>
      </p:sp>
      <p:sp>
        <p:nvSpPr>
          <p:cNvPr id="250901" name="Wurzel 6"/>
          <p:cNvSpPr txBox="1">
            <a:spLocks noChangeArrowheads="1"/>
          </p:cNvSpPr>
          <p:nvPr/>
        </p:nvSpPr>
        <p:spPr bwMode="auto">
          <a:xfrm>
            <a:off x="142875" y="5316538"/>
            <a:ext cx="2028825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 anchor="ctr"/>
          <a:lstStyle/>
          <a:p>
            <a:pPr algn="ctr"/>
            <a: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100%</a:t>
            </a:r>
            <a:r>
              <a:rPr lang="en-US" altLang="de-DE" sz="1100" dirty="0">
                <a:solidFill>
                  <a:srgbClr val="002A64"/>
                </a:solidFill>
                <a:ea typeface="ＭＳ Ｐゴシック"/>
                <a:cs typeface="ＭＳ Ｐゴシック"/>
              </a:rPr>
              <a:t> </a:t>
            </a:r>
            <a:r>
              <a:rPr lang="sk-SK" altLang="de-DE" sz="1100" dirty="0">
                <a:solidFill>
                  <a:srgbClr val="002A64"/>
                </a:solidFill>
                <a:ea typeface="ＭＳ Ｐゴシック"/>
                <a:cs typeface="ＭＳ Ｐゴシック"/>
              </a:rPr>
              <a:t> zameranie na zákazníka</a:t>
            </a:r>
            <a:r>
              <a:rPr lang="en-US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 –</a:t>
            </a:r>
          </a:p>
          <a:p>
            <a:pPr algn="ctr"/>
            <a:r>
              <a:rPr lang="sk-SK" altLang="de-DE" sz="1100" dirty="0">
                <a:solidFill>
                  <a:schemeClr val="tx2"/>
                </a:solidFill>
                <a:ea typeface="ＭＳ Ｐゴシック"/>
                <a:cs typeface="ＭＳ Ｐゴシック"/>
              </a:rPr>
              <a:t>navonok i vnútorne</a:t>
            </a:r>
            <a:endParaRPr lang="en-US" altLang="de-DE" sz="1100" dirty="0">
              <a:solidFill>
                <a:schemeClr val="tx2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50902" name="Text Fundament"/>
          <p:cNvSpPr txBox="1">
            <a:spLocks noChangeArrowheads="1"/>
          </p:cNvSpPr>
          <p:nvPr/>
        </p:nvSpPr>
        <p:spPr bwMode="auto">
          <a:xfrm>
            <a:off x="798513" y="4394200"/>
            <a:ext cx="2971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2700" algn="ctr">
              <a:lnSpc>
                <a:spcPct val="102000"/>
              </a:lnSpc>
            </a:pPr>
            <a:r>
              <a:rPr lang="sk-SK" sz="1200" b="1" dirty="0">
                <a:solidFill>
                  <a:schemeClr val="tx2"/>
                </a:solidFill>
                <a:cs typeface="Arial" charset="0"/>
              </a:rPr>
              <a:t>Štíhle procesy</a:t>
            </a:r>
            <a:endParaRPr lang="en-US" sz="1200" b="1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250903" name="Text Säule 1"/>
          <p:cNvSpPr txBox="1">
            <a:spLocks noChangeArrowheads="1"/>
          </p:cNvSpPr>
          <p:nvPr/>
        </p:nvSpPr>
        <p:spPr bwMode="auto">
          <a:xfrm>
            <a:off x="792163" y="2754313"/>
            <a:ext cx="990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2700" algn="ctr">
              <a:lnSpc>
                <a:spcPct val="102000"/>
              </a:lnSpc>
            </a:pPr>
            <a:r>
              <a:rPr lang="en-US" sz="1100" b="1" dirty="0">
                <a:solidFill>
                  <a:schemeClr val="tx2"/>
                </a:solidFill>
                <a:cs typeface="Arial" charset="0"/>
              </a:rPr>
              <a:t>Glo</a:t>
            </a:r>
            <a:r>
              <a:rPr lang="sk-SK" sz="1100" b="1" dirty="0">
                <a:solidFill>
                  <a:schemeClr val="tx2"/>
                </a:solidFill>
                <a:cs typeface="Arial" charset="0"/>
              </a:rPr>
              <a:t>bálny</a:t>
            </a:r>
            <a:r>
              <a:rPr lang="en-US" sz="1100" b="1" dirty="0">
                <a:solidFill>
                  <a:schemeClr val="tx2"/>
                </a:solidFill>
                <a:cs typeface="Arial" charset="0"/>
              </a:rPr>
              <a:t> </a:t>
            </a:r>
            <a:r>
              <a:rPr lang="sk-SK" sz="1100" b="1" dirty="0">
                <a:solidFill>
                  <a:schemeClr val="tx2"/>
                </a:solidFill>
                <a:cs typeface="Arial" charset="0"/>
              </a:rPr>
              <a:t>     Rast</a:t>
            </a:r>
            <a:endParaRPr lang="en-US" sz="1100" b="1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250904" name="Text Säule 2"/>
          <p:cNvSpPr txBox="1">
            <a:spLocks noChangeArrowheads="1"/>
          </p:cNvSpPr>
          <p:nvPr/>
        </p:nvSpPr>
        <p:spPr bwMode="auto">
          <a:xfrm>
            <a:off x="1825625" y="2754313"/>
            <a:ext cx="990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2700" algn="ctr">
              <a:lnSpc>
                <a:spcPct val="102000"/>
              </a:lnSpc>
            </a:pPr>
            <a:r>
              <a:rPr lang="en-US" sz="1100" b="1" dirty="0">
                <a:solidFill>
                  <a:schemeClr val="tx2"/>
                </a:solidFill>
                <a:cs typeface="Arial" charset="0"/>
              </a:rPr>
              <a:t>In</a:t>
            </a:r>
            <a:r>
              <a:rPr lang="sk-SK" sz="1100" b="1" dirty="0">
                <a:solidFill>
                  <a:schemeClr val="tx2"/>
                </a:solidFill>
                <a:cs typeface="Arial" charset="0"/>
              </a:rPr>
              <a:t>ovácie a technológie</a:t>
            </a:r>
            <a:endParaRPr lang="en-US" sz="1100" b="1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250905" name="Text Säule 3"/>
          <p:cNvSpPr txBox="1">
            <a:spLocks noChangeArrowheads="1"/>
          </p:cNvSpPr>
          <p:nvPr/>
        </p:nvSpPr>
        <p:spPr bwMode="auto">
          <a:xfrm>
            <a:off x="2878138" y="2754313"/>
            <a:ext cx="990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2700" algn="ctr">
              <a:lnSpc>
                <a:spcPct val="102000"/>
              </a:lnSpc>
            </a:pPr>
            <a:r>
              <a:rPr lang="sk-SK" sz="1100" b="1" dirty="0">
                <a:solidFill>
                  <a:schemeClr val="tx2"/>
                </a:solidFill>
                <a:cs typeface="Arial" charset="0"/>
              </a:rPr>
              <a:t>Ľudia</a:t>
            </a:r>
            <a:endParaRPr lang="en-US" sz="1100" b="1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250906" name="Text Dach"/>
          <p:cNvSpPr txBox="1">
            <a:spLocks noChangeArrowheads="1"/>
          </p:cNvSpPr>
          <p:nvPr/>
        </p:nvSpPr>
        <p:spPr bwMode="auto">
          <a:xfrm>
            <a:off x="882650" y="1249363"/>
            <a:ext cx="2971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12700" algn="ctr">
              <a:lnSpc>
                <a:spcPct val="102000"/>
              </a:lnSpc>
            </a:pPr>
            <a:r>
              <a:rPr lang="en-US" sz="1200" b="1" dirty="0">
                <a:solidFill>
                  <a:schemeClr val="tx2"/>
                </a:solidFill>
                <a:cs typeface="Arial" charset="0"/>
              </a:rPr>
              <a:t>Dynamic </a:t>
            </a:r>
          </a:p>
          <a:p>
            <a:pPr marL="12700" algn="ctr">
              <a:lnSpc>
                <a:spcPct val="102000"/>
              </a:lnSpc>
            </a:pPr>
            <a:r>
              <a:rPr lang="en-US" sz="1200" b="1" dirty="0">
                <a:solidFill>
                  <a:schemeClr val="tx2"/>
                </a:solidFill>
                <a:cs typeface="Arial" charset="0"/>
              </a:rPr>
              <a:t>Evolution</a:t>
            </a:r>
          </a:p>
        </p:txBody>
      </p:sp>
      <p:sp>
        <p:nvSpPr>
          <p:cNvPr id="250907" name="object 23"/>
          <p:cNvSpPr txBox="1">
            <a:spLocks noChangeArrowheads="1"/>
          </p:cNvSpPr>
          <p:nvPr/>
        </p:nvSpPr>
        <p:spPr bwMode="auto">
          <a:xfrm>
            <a:off x="4498975" y="1325563"/>
            <a:ext cx="4319588" cy="3163394"/>
          </a:xfrm>
          <a:prstGeom prst="rect">
            <a:avLst/>
          </a:prstGeom>
          <a:blipFill dpi="0"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144000" tIns="144000" rIns="144000" bIns="144000">
            <a:spAutoFit/>
          </a:bodyPr>
          <a:lstStyle/>
          <a:p>
            <a:pPr marL="12700">
              <a:lnSpc>
                <a:spcPts val="2000"/>
              </a:lnSpc>
              <a:spcAft>
                <a:spcPts val="600"/>
              </a:spcAft>
            </a:pPr>
            <a:r>
              <a:rPr lang="en-US" altLang="de-DE" sz="1400" dirty="0">
                <a:solidFill>
                  <a:schemeClr val="tx2"/>
                </a:solidFill>
              </a:rPr>
              <a:t>Miba </a:t>
            </a:r>
            <a:r>
              <a:rPr lang="sk-SK" altLang="de-DE" sz="1400" dirty="0">
                <a:solidFill>
                  <a:schemeClr val="tx2"/>
                </a:solidFill>
              </a:rPr>
              <a:t>naďalej usilovne pracuje sa svojej budúcnosti. </a:t>
            </a:r>
            <a:endParaRPr lang="en-US" altLang="de-DE" sz="1400" dirty="0">
              <a:solidFill>
                <a:srgbClr val="6699FF"/>
              </a:solidFill>
              <a:ea typeface="ＭＳ Ｐゴシック"/>
              <a:cs typeface="ＭＳ Ｐゴシック"/>
            </a:endParaRPr>
          </a:p>
          <a:p>
            <a:pPr marL="12700">
              <a:lnSpc>
                <a:spcPts val="2000"/>
              </a:lnSpc>
              <a:spcAft>
                <a:spcPts val="600"/>
              </a:spcAft>
            </a:pPr>
            <a:r>
              <a:rPr lang="en-US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Dynamic Evolution</a:t>
            </a:r>
            <a:r>
              <a:rPr lang="sk-SK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 je</a:t>
            </a:r>
            <a:r>
              <a:rPr lang="en-US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 </a:t>
            </a:r>
            <a:r>
              <a:rPr lang="sk-SK" altLang="de-DE" sz="1400" b="1" dirty="0">
                <a:solidFill>
                  <a:schemeClr val="tx2"/>
                </a:solidFill>
                <a:ea typeface="ＭＳ Ｐゴシック"/>
                <a:cs typeface="ＭＳ Ｐゴシック"/>
              </a:rPr>
              <a:t>preklenujúci riadiaci koncept</a:t>
            </a:r>
            <a:r>
              <a:rPr lang="sk-SK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. </a:t>
            </a:r>
            <a:r>
              <a:rPr lang="en-US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 </a:t>
            </a:r>
          </a:p>
          <a:p>
            <a:pPr marL="12700">
              <a:lnSpc>
                <a:spcPts val="2000"/>
              </a:lnSpc>
              <a:spcAft>
                <a:spcPts val="600"/>
              </a:spcAft>
            </a:pPr>
            <a:r>
              <a:rPr lang="sk-SK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Podporujú ho </a:t>
            </a:r>
            <a:r>
              <a:rPr lang="en-US" altLang="de-DE" sz="1400" b="1" dirty="0">
                <a:solidFill>
                  <a:schemeClr val="tx2"/>
                </a:solidFill>
                <a:ea typeface="ＭＳ Ｐゴシック"/>
                <a:cs typeface="ＭＳ Ｐゴシック"/>
              </a:rPr>
              <a:t>t</a:t>
            </a:r>
            <a:r>
              <a:rPr lang="sk-SK" altLang="de-DE" sz="1400" b="1" dirty="0">
                <a:solidFill>
                  <a:schemeClr val="tx2"/>
                </a:solidFill>
                <a:ea typeface="ＭＳ Ｐゴシック"/>
                <a:cs typeface="ＭＳ Ｐゴシック"/>
              </a:rPr>
              <a:t>ri hlavné piliere. </a:t>
            </a:r>
            <a:r>
              <a:rPr lang="en-US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 </a:t>
            </a:r>
          </a:p>
          <a:p>
            <a:pPr marL="12700">
              <a:lnSpc>
                <a:spcPts val="2000"/>
              </a:lnSpc>
              <a:spcAft>
                <a:spcPts val="600"/>
              </a:spcAft>
            </a:pPr>
            <a:r>
              <a:rPr lang="sk-SK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Štíhle procesy sú </a:t>
            </a:r>
            <a:r>
              <a:rPr lang="en-US" altLang="de-DE" sz="1400" dirty="0">
                <a:solidFill>
                  <a:schemeClr val="tx2"/>
                </a:solidFill>
              </a:rPr>
              <a:t> </a:t>
            </a:r>
            <a:r>
              <a:rPr lang="sk-SK" altLang="de-DE" sz="1400" b="1" dirty="0">
                <a:solidFill>
                  <a:schemeClr val="tx2"/>
                </a:solidFill>
              </a:rPr>
              <a:t>základom </a:t>
            </a:r>
            <a:r>
              <a:rPr lang="sk-SK" altLang="de-DE" sz="1400" dirty="0">
                <a:solidFill>
                  <a:schemeClr val="tx2"/>
                </a:solidFill>
              </a:rPr>
              <a:t>pilierov                       v administratíve i vo výrobe. </a:t>
            </a:r>
            <a:endParaRPr lang="en-US" altLang="de-DE" sz="1400" dirty="0">
              <a:solidFill>
                <a:schemeClr val="tx2"/>
              </a:solidFill>
              <a:ea typeface="ＭＳ Ｐゴシック"/>
              <a:cs typeface="ＭＳ Ｐゴシック"/>
            </a:endParaRPr>
          </a:p>
          <a:p>
            <a:pPr marL="12700">
              <a:lnSpc>
                <a:spcPts val="2000"/>
              </a:lnSpc>
              <a:spcAft>
                <a:spcPts val="600"/>
              </a:spcAft>
            </a:pPr>
            <a:r>
              <a:rPr lang="sk-SK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Naše</a:t>
            </a:r>
            <a:r>
              <a:rPr lang="en-US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 </a:t>
            </a:r>
            <a:r>
              <a:rPr lang="sk-SK" altLang="de-DE" sz="1400" b="1" dirty="0">
                <a:solidFill>
                  <a:schemeClr val="tx2"/>
                </a:solidFill>
                <a:ea typeface="ＭＳ Ｐゴシック"/>
                <a:cs typeface="ＭＳ Ｐゴシック"/>
              </a:rPr>
              <a:t>korene</a:t>
            </a:r>
            <a:r>
              <a:rPr lang="en-US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 </a:t>
            </a:r>
            <a:r>
              <a:rPr lang="sk-SK" altLang="de-DE" sz="1400" dirty="0">
                <a:solidFill>
                  <a:schemeClr val="tx2"/>
                </a:solidFill>
                <a:ea typeface="ＭＳ Ｐゴシック"/>
                <a:cs typeface="ＭＳ Ｐゴシック"/>
              </a:rPr>
              <a:t>sú vybudované na šiestich princípoch, ktoré tvoria pevný základ pre trvalý úspech naprieč generáciami. </a:t>
            </a:r>
            <a:r>
              <a:rPr lang="en-US" altLang="de-DE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02203400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rafik 5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3" y="1037635"/>
            <a:ext cx="9361057" cy="4893834"/>
          </a:xfrm>
          <a:prstGeom prst="rect">
            <a:avLst/>
          </a:prstGeom>
        </p:spPr>
      </p:pic>
      <p:sp>
        <p:nvSpPr>
          <p:cNvPr id="9" name="Titel 1"/>
          <p:cNvSpPr txBox="1">
            <a:spLocks/>
          </p:cNvSpPr>
          <p:nvPr/>
        </p:nvSpPr>
        <p:spPr>
          <a:xfrm>
            <a:off x="340237" y="383744"/>
            <a:ext cx="6223000" cy="369332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sk-SK" dirty="0">
                <a:latin typeface="Arial" pitchFamily="-103" charset="0"/>
                <a:ea typeface="ＭＳ Ｐゴシック" pitchFamily="-103" charset="-128"/>
                <a:cs typeface="Arial" pitchFamily="-103" charset="0"/>
              </a:rPr>
              <a:t>2</a:t>
            </a:r>
            <a:r>
              <a:rPr lang="en-US">
                <a:latin typeface="Arial" pitchFamily="-103" charset="0"/>
                <a:ea typeface="ＭＳ Ｐゴシック" pitchFamily="-103" charset="-128"/>
                <a:cs typeface="Arial" pitchFamily="-103" charset="0"/>
              </a:rPr>
              <a:t>6</a:t>
            </a:r>
            <a:r>
              <a:rPr lang="sk-SK">
                <a:latin typeface="Arial" pitchFamily="-103" charset="0"/>
                <a:ea typeface="ＭＳ Ｐゴシック" pitchFamily="-103" charset="-128"/>
                <a:cs typeface="Arial" pitchFamily="-103" charset="0"/>
              </a:rPr>
              <a:t> výrobných závodov na svete</a:t>
            </a:r>
          </a:p>
        </p:txBody>
      </p:sp>
      <p:graphicFrame>
        <p:nvGraphicFramePr>
          <p:cNvPr id="14" name="Diagramm 13"/>
          <p:cNvGraphicFramePr>
            <a:graphicFrameLocks/>
          </p:cNvGraphicFramePr>
          <p:nvPr/>
        </p:nvGraphicFramePr>
        <p:xfrm>
          <a:off x="6372200" y="4847064"/>
          <a:ext cx="1667092" cy="1368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8" name="Europa"/>
          <p:cNvGrpSpPr/>
          <p:nvPr/>
        </p:nvGrpSpPr>
        <p:grpSpPr>
          <a:xfrm>
            <a:off x="340237" y="5599338"/>
            <a:ext cx="2719395" cy="1066800"/>
            <a:chOff x="5835650" y="1489075"/>
            <a:chExt cx="2719395" cy="1066800"/>
          </a:xfrm>
        </p:grpSpPr>
        <p:sp>
          <p:nvSpPr>
            <p:cNvPr id="10" name="object 32"/>
            <p:cNvSpPr/>
            <p:nvPr/>
          </p:nvSpPr>
          <p:spPr>
            <a:xfrm>
              <a:off x="5835650" y="1489075"/>
              <a:ext cx="2719394" cy="1066800"/>
            </a:xfrm>
            <a:custGeom>
              <a:avLst/>
              <a:gdLst/>
              <a:ahLst/>
              <a:cxnLst/>
              <a:rect l="l" t="t" r="r" b="b"/>
              <a:pathLst>
                <a:path w="5933440" h="3041650">
                  <a:moveTo>
                    <a:pt x="0" y="3041078"/>
                  </a:moveTo>
                  <a:lnTo>
                    <a:pt x="5932843" y="3041078"/>
                  </a:lnTo>
                  <a:lnTo>
                    <a:pt x="5932843" y="0"/>
                  </a:lnTo>
                  <a:lnTo>
                    <a:pt x="0" y="0"/>
                  </a:lnTo>
                  <a:lnTo>
                    <a:pt x="0" y="3041078"/>
                  </a:lnTo>
                  <a:close/>
                </a:path>
              </a:pathLst>
            </a:cu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algn="ctr"/>
              <a:endParaRPr>
                <a:solidFill>
                  <a:schemeClr val="tx2"/>
                </a:solidFill>
              </a:endParaRPr>
            </a:p>
          </p:txBody>
        </p:sp>
        <p:sp>
          <p:nvSpPr>
            <p:cNvPr id="11" name="object 5"/>
            <p:cNvSpPr txBox="1"/>
            <p:nvPr/>
          </p:nvSpPr>
          <p:spPr>
            <a:xfrm>
              <a:off x="6064747" y="1646389"/>
              <a:ext cx="2490298" cy="8207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algn="ctr">
                <a:lnSpc>
                  <a:spcPts val="2800"/>
                </a:lnSpc>
              </a:pPr>
              <a:r>
                <a:rPr lang="sk-SK" sz="2400" dirty="0">
                  <a:solidFill>
                    <a:schemeClr val="tx2"/>
                  </a:solidFill>
                  <a:latin typeface="Arial"/>
                  <a:cs typeface="Arial"/>
                </a:rPr>
                <a:t>Amerika</a:t>
              </a:r>
            </a:p>
            <a:p>
              <a:pPr marL="12700" algn="ctr"/>
              <a:r>
                <a:rPr lang="sk-SK" sz="1500" dirty="0">
                  <a:solidFill>
                    <a:schemeClr val="tx2"/>
                  </a:solidFill>
                  <a:cs typeface="Arial"/>
                </a:rPr>
                <a:t>1 </a:t>
              </a:r>
              <a:r>
                <a:rPr lang="de-AT" sz="1500" dirty="0">
                  <a:solidFill>
                    <a:schemeClr val="tx2"/>
                  </a:solidFill>
                  <a:cs typeface="Arial"/>
                </a:rPr>
                <a:t>40</a:t>
              </a:r>
              <a:r>
                <a:rPr lang="sk-SK" sz="1500" dirty="0">
                  <a:solidFill>
                    <a:schemeClr val="tx2"/>
                  </a:solidFill>
                  <a:cs typeface="Arial"/>
                </a:rPr>
                <a:t>0 pracovníkov</a:t>
              </a:r>
            </a:p>
            <a:p>
              <a:pPr marL="12700" algn="ctr"/>
              <a:r>
                <a:rPr lang="de-AT" sz="1500" dirty="0">
                  <a:solidFill>
                    <a:schemeClr val="tx2"/>
                  </a:solidFill>
                  <a:cs typeface="Arial"/>
                </a:rPr>
                <a:t>8</a:t>
              </a:r>
              <a:r>
                <a:rPr lang="sk-SK" sz="1500" dirty="0">
                  <a:solidFill>
                    <a:schemeClr val="tx2"/>
                  </a:solidFill>
                  <a:cs typeface="Arial"/>
                </a:rPr>
                <a:t> závodov</a:t>
              </a:r>
            </a:p>
          </p:txBody>
        </p:sp>
      </p:grpSp>
      <p:grpSp>
        <p:nvGrpSpPr>
          <p:cNvPr id="12" name="Europa"/>
          <p:cNvGrpSpPr/>
          <p:nvPr/>
        </p:nvGrpSpPr>
        <p:grpSpPr>
          <a:xfrm>
            <a:off x="3211236" y="5599338"/>
            <a:ext cx="2719395" cy="1066800"/>
            <a:chOff x="5835650" y="1489075"/>
            <a:chExt cx="2719395" cy="1066800"/>
          </a:xfrm>
        </p:grpSpPr>
        <p:sp>
          <p:nvSpPr>
            <p:cNvPr id="13" name="object 32"/>
            <p:cNvSpPr/>
            <p:nvPr/>
          </p:nvSpPr>
          <p:spPr>
            <a:xfrm>
              <a:off x="5835650" y="1489075"/>
              <a:ext cx="2719394" cy="1066800"/>
            </a:xfrm>
            <a:custGeom>
              <a:avLst/>
              <a:gdLst/>
              <a:ahLst/>
              <a:cxnLst/>
              <a:rect l="l" t="t" r="r" b="b"/>
              <a:pathLst>
                <a:path w="5933440" h="3041650">
                  <a:moveTo>
                    <a:pt x="0" y="3041078"/>
                  </a:moveTo>
                  <a:lnTo>
                    <a:pt x="5932843" y="3041078"/>
                  </a:lnTo>
                  <a:lnTo>
                    <a:pt x="5932843" y="0"/>
                  </a:lnTo>
                  <a:lnTo>
                    <a:pt x="0" y="0"/>
                  </a:lnTo>
                  <a:lnTo>
                    <a:pt x="0" y="3041078"/>
                  </a:lnTo>
                  <a:close/>
                </a:path>
              </a:pathLst>
            </a:cu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algn="ctr"/>
              <a:endParaRPr>
                <a:solidFill>
                  <a:schemeClr val="tx2"/>
                </a:solidFill>
              </a:endParaRPr>
            </a:p>
          </p:txBody>
        </p:sp>
        <p:sp>
          <p:nvSpPr>
            <p:cNvPr id="17" name="object 5"/>
            <p:cNvSpPr txBox="1"/>
            <p:nvPr/>
          </p:nvSpPr>
          <p:spPr>
            <a:xfrm>
              <a:off x="6064747" y="1646389"/>
              <a:ext cx="2490298" cy="8207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algn="ctr">
                <a:lnSpc>
                  <a:spcPts val="2800"/>
                </a:lnSpc>
              </a:pPr>
              <a:r>
                <a:rPr lang="sk-SK" sz="2400" dirty="0">
                  <a:solidFill>
                    <a:schemeClr val="tx2"/>
                  </a:solidFill>
                  <a:latin typeface="Arial"/>
                  <a:cs typeface="Arial"/>
                </a:rPr>
                <a:t>Európa</a:t>
              </a:r>
            </a:p>
            <a:p>
              <a:pPr marL="12700" algn="ctr"/>
              <a:r>
                <a:rPr lang="sk-SK" sz="1500" dirty="0">
                  <a:solidFill>
                    <a:schemeClr val="tx2"/>
                  </a:solidFill>
                  <a:cs typeface="Arial"/>
                </a:rPr>
                <a:t>4 </a:t>
              </a:r>
              <a:r>
                <a:rPr lang="de-AT" sz="1500" dirty="0">
                  <a:solidFill>
                    <a:schemeClr val="tx2"/>
                  </a:solidFill>
                  <a:cs typeface="Arial"/>
                </a:rPr>
                <a:t>9</a:t>
              </a:r>
              <a:r>
                <a:rPr lang="sk-SK" sz="1500" dirty="0">
                  <a:solidFill>
                    <a:schemeClr val="tx2"/>
                  </a:solidFill>
                  <a:cs typeface="Arial"/>
                </a:rPr>
                <a:t>00 pracovníkov</a:t>
              </a:r>
            </a:p>
            <a:p>
              <a:pPr marL="12700" algn="ctr"/>
              <a:r>
                <a:rPr lang="sk-SK" sz="1500" dirty="0">
                  <a:solidFill>
                    <a:schemeClr val="tx2"/>
                  </a:solidFill>
                  <a:cs typeface="Arial"/>
                </a:rPr>
                <a:t>1</a:t>
              </a:r>
              <a:r>
                <a:rPr lang="de-AT" sz="1500" dirty="0">
                  <a:solidFill>
                    <a:schemeClr val="tx2"/>
                  </a:solidFill>
                  <a:cs typeface="Arial"/>
                </a:rPr>
                <a:t>4</a:t>
              </a:r>
              <a:r>
                <a:rPr lang="sk-SK" sz="1500" dirty="0">
                  <a:solidFill>
                    <a:schemeClr val="tx2"/>
                  </a:solidFill>
                  <a:cs typeface="Arial"/>
                </a:rPr>
                <a:t> závodov</a:t>
              </a:r>
            </a:p>
          </p:txBody>
        </p:sp>
      </p:grpSp>
      <p:grpSp>
        <p:nvGrpSpPr>
          <p:cNvPr id="18" name="Europa"/>
          <p:cNvGrpSpPr/>
          <p:nvPr/>
        </p:nvGrpSpPr>
        <p:grpSpPr>
          <a:xfrm>
            <a:off x="6082234" y="5599338"/>
            <a:ext cx="2719395" cy="1066800"/>
            <a:chOff x="5835650" y="1489075"/>
            <a:chExt cx="2719395" cy="1066800"/>
          </a:xfrm>
        </p:grpSpPr>
        <p:sp>
          <p:nvSpPr>
            <p:cNvPr id="19" name="object 32"/>
            <p:cNvSpPr/>
            <p:nvPr/>
          </p:nvSpPr>
          <p:spPr>
            <a:xfrm>
              <a:off x="5835650" y="1489075"/>
              <a:ext cx="2719394" cy="1066800"/>
            </a:xfrm>
            <a:custGeom>
              <a:avLst/>
              <a:gdLst/>
              <a:ahLst/>
              <a:cxnLst/>
              <a:rect l="l" t="t" r="r" b="b"/>
              <a:pathLst>
                <a:path w="5933440" h="3041650">
                  <a:moveTo>
                    <a:pt x="0" y="3041078"/>
                  </a:moveTo>
                  <a:lnTo>
                    <a:pt x="5932843" y="3041078"/>
                  </a:lnTo>
                  <a:lnTo>
                    <a:pt x="5932843" y="0"/>
                  </a:lnTo>
                  <a:lnTo>
                    <a:pt x="0" y="0"/>
                  </a:lnTo>
                  <a:lnTo>
                    <a:pt x="0" y="3041078"/>
                  </a:lnTo>
                  <a:close/>
                </a:path>
              </a:pathLst>
            </a:custGeom>
            <a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algn="ctr"/>
              <a:endParaRPr>
                <a:solidFill>
                  <a:schemeClr val="tx2"/>
                </a:solidFill>
              </a:endParaRPr>
            </a:p>
          </p:txBody>
        </p:sp>
        <p:sp>
          <p:nvSpPr>
            <p:cNvPr id="20" name="object 5"/>
            <p:cNvSpPr txBox="1"/>
            <p:nvPr/>
          </p:nvSpPr>
          <p:spPr>
            <a:xfrm>
              <a:off x="6064747" y="1646389"/>
              <a:ext cx="2490298" cy="8207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algn="ctr">
                <a:lnSpc>
                  <a:spcPts val="2800"/>
                </a:lnSpc>
              </a:pPr>
              <a:r>
                <a:rPr lang="sk-SK" sz="2400">
                  <a:solidFill>
                    <a:schemeClr val="tx2"/>
                  </a:solidFill>
                  <a:latin typeface="Arial"/>
                  <a:cs typeface="Arial"/>
                </a:rPr>
                <a:t>Ázia</a:t>
              </a:r>
            </a:p>
            <a:p>
              <a:pPr marL="12700" algn="ctr"/>
              <a:r>
                <a:rPr lang="sk-SK" sz="1500">
                  <a:solidFill>
                    <a:schemeClr val="tx2"/>
                  </a:solidFill>
                  <a:cs typeface="Arial"/>
                </a:rPr>
                <a:t>1 100 pracovníkov</a:t>
              </a:r>
            </a:p>
            <a:p>
              <a:pPr marL="12700" algn="ctr"/>
              <a:r>
                <a:rPr lang="sk-SK" sz="1500">
                  <a:solidFill>
                    <a:schemeClr val="tx2"/>
                  </a:solidFill>
                  <a:cs typeface="Arial"/>
                </a:rPr>
                <a:t>4 závody</a:t>
              </a:r>
            </a:p>
          </p:txBody>
        </p:sp>
      </p:grpSp>
      <p:sp>
        <p:nvSpPr>
          <p:cNvPr id="21" name="Ellipse 20"/>
          <p:cNvSpPr/>
          <p:nvPr/>
        </p:nvSpPr>
        <p:spPr>
          <a:xfrm>
            <a:off x="4627047" y="2736104"/>
            <a:ext cx="64800" cy="64800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Ellipse 26"/>
          <p:cNvSpPr/>
          <p:nvPr/>
        </p:nvSpPr>
        <p:spPr>
          <a:xfrm>
            <a:off x="4677266" y="2724313"/>
            <a:ext cx="64800" cy="64800"/>
          </a:xfrm>
          <a:prstGeom prst="ellipse">
            <a:avLst/>
          </a:prstGeom>
          <a:solidFill>
            <a:srgbClr val="B4000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Ellipse 28"/>
          <p:cNvSpPr/>
          <p:nvPr/>
        </p:nvSpPr>
        <p:spPr>
          <a:xfrm>
            <a:off x="4706603" y="2760689"/>
            <a:ext cx="64800" cy="64800"/>
          </a:xfrm>
          <a:prstGeom prst="ellipse">
            <a:avLst/>
          </a:prstGeom>
          <a:solidFill>
            <a:srgbClr val="92D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/>
          <p:cNvSpPr/>
          <p:nvPr/>
        </p:nvSpPr>
        <p:spPr>
          <a:xfrm>
            <a:off x="4797658" y="2718196"/>
            <a:ext cx="64800" cy="64800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/>
          <p:cNvSpPr/>
          <p:nvPr/>
        </p:nvSpPr>
        <p:spPr>
          <a:xfrm>
            <a:off x="2326399" y="2999741"/>
            <a:ext cx="64800" cy="64800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Ellipse 31"/>
          <p:cNvSpPr/>
          <p:nvPr/>
        </p:nvSpPr>
        <p:spPr>
          <a:xfrm>
            <a:off x="3211236" y="4594777"/>
            <a:ext cx="64800" cy="64800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/>
          <p:cNvSpPr/>
          <p:nvPr/>
        </p:nvSpPr>
        <p:spPr>
          <a:xfrm>
            <a:off x="6129849" y="3556901"/>
            <a:ext cx="64800" cy="64800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/>
          <p:cNvSpPr/>
          <p:nvPr/>
        </p:nvSpPr>
        <p:spPr>
          <a:xfrm>
            <a:off x="7221990" y="3229817"/>
            <a:ext cx="64800" cy="64800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/>
          <p:cNvSpPr/>
          <p:nvPr/>
        </p:nvSpPr>
        <p:spPr>
          <a:xfrm>
            <a:off x="4708058" y="2809182"/>
            <a:ext cx="64800" cy="64800"/>
          </a:xfrm>
          <a:prstGeom prst="ellipse">
            <a:avLst/>
          </a:prstGeom>
          <a:solidFill>
            <a:srgbClr val="8C479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Ellipse 35"/>
          <p:cNvSpPr/>
          <p:nvPr/>
        </p:nvSpPr>
        <p:spPr>
          <a:xfrm>
            <a:off x="2356340" y="3001747"/>
            <a:ext cx="64800" cy="64800"/>
          </a:xfrm>
          <a:prstGeom prst="ellipse">
            <a:avLst/>
          </a:prstGeom>
          <a:solidFill>
            <a:srgbClr val="8C479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Ellipse 36"/>
          <p:cNvSpPr/>
          <p:nvPr/>
        </p:nvSpPr>
        <p:spPr>
          <a:xfrm>
            <a:off x="2228825" y="2997549"/>
            <a:ext cx="64800" cy="64800"/>
          </a:xfrm>
          <a:prstGeom prst="ellipse">
            <a:avLst/>
          </a:prstGeom>
          <a:solidFill>
            <a:srgbClr val="8C479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Ellipse 37"/>
          <p:cNvSpPr/>
          <p:nvPr/>
        </p:nvSpPr>
        <p:spPr>
          <a:xfrm>
            <a:off x="7226671" y="3268870"/>
            <a:ext cx="64800" cy="64800"/>
          </a:xfrm>
          <a:prstGeom prst="ellipse">
            <a:avLst/>
          </a:prstGeom>
          <a:solidFill>
            <a:srgbClr val="8C479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Ellipse 38"/>
          <p:cNvSpPr/>
          <p:nvPr/>
        </p:nvSpPr>
        <p:spPr>
          <a:xfrm>
            <a:off x="4768363" y="2745263"/>
            <a:ext cx="64800" cy="64800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Ellipse 39"/>
          <p:cNvSpPr/>
          <p:nvPr/>
        </p:nvSpPr>
        <p:spPr>
          <a:xfrm>
            <a:off x="2272228" y="2917359"/>
            <a:ext cx="64800" cy="64800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Ellipse 40"/>
          <p:cNvSpPr/>
          <p:nvPr/>
        </p:nvSpPr>
        <p:spPr>
          <a:xfrm>
            <a:off x="6127099" y="3596352"/>
            <a:ext cx="64800" cy="64800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Ellipse 41"/>
          <p:cNvSpPr/>
          <p:nvPr/>
        </p:nvSpPr>
        <p:spPr>
          <a:xfrm>
            <a:off x="7172538" y="3232554"/>
            <a:ext cx="64800" cy="64800"/>
          </a:xfrm>
          <a:prstGeom prst="ellipse">
            <a:avLst/>
          </a:prstGeom>
          <a:solidFill>
            <a:schemeClr val="accent4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Ellipse 42"/>
          <p:cNvSpPr/>
          <p:nvPr/>
        </p:nvSpPr>
        <p:spPr>
          <a:xfrm>
            <a:off x="7080273" y="3466552"/>
            <a:ext cx="64800" cy="64800"/>
          </a:xfrm>
          <a:prstGeom prst="ellipse">
            <a:avLst/>
          </a:prstGeom>
          <a:solidFill>
            <a:srgbClr val="92D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Ellipse 43"/>
          <p:cNvSpPr/>
          <p:nvPr/>
        </p:nvSpPr>
        <p:spPr>
          <a:xfrm flipV="1">
            <a:off x="4663207" y="2827298"/>
            <a:ext cx="64800" cy="64800"/>
          </a:xfrm>
          <a:prstGeom prst="ellipse">
            <a:avLst/>
          </a:prstGeom>
          <a:solidFill>
            <a:srgbClr val="92D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Ellipse 44"/>
          <p:cNvSpPr/>
          <p:nvPr/>
        </p:nvSpPr>
        <p:spPr>
          <a:xfrm>
            <a:off x="4620126" y="2788807"/>
            <a:ext cx="64800" cy="64800"/>
          </a:xfrm>
          <a:prstGeom prst="ellipse">
            <a:avLst/>
          </a:prstGeom>
          <a:solidFill>
            <a:srgbClr val="92D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Ellipse 45"/>
          <p:cNvSpPr/>
          <p:nvPr/>
        </p:nvSpPr>
        <p:spPr>
          <a:xfrm>
            <a:off x="2412503" y="2965149"/>
            <a:ext cx="64800" cy="64800"/>
          </a:xfrm>
          <a:prstGeom prst="ellipse">
            <a:avLst/>
          </a:prstGeom>
          <a:solidFill>
            <a:srgbClr val="92D05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Ellipse 46"/>
          <p:cNvSpPr/>
          <p:nvPr/>
        </p:nvSpPr>
        <p:spPr>
          <a:xfrm>
            <a:off x="4296548" y="2613024"/>
            <a:ext cx="64800" cy="64800"/>
          </a:xfrm>
          <a:prstGeom prst="ellipse">
            <a:avLst/>
          </a:prstGeom>
          <a:solidFill>
            <a:srgbClr val="B4000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Ellipse 47"/>
          <p:cNvSpPr/>
          <p:nvPr/>
        </p:nvSpPr>
        <p:spPr>
          <a:xfrm>
            <a:off x="7181742" y="3284210"/>
            <a:ext cx="64800" cy="64800"/>
          </a:xfrm>
          <a:prstGeom prst="ellipse">
            <a:avLst/>
          </a:prstGeom>
          <a:solidFill>
            <a:srgbClr val="B40000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Ellipse 49"/>
          <p:cNvSpPr/>
          <p:nvPr/>
        </p:nvSpPr>
        <p:spPr>
          <a:xfrm>
            <a:off x="4664994" y="2770536"/>
            <a:ext cx="64800" cy="64800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Ellipse 50"/>
          <p:cNvSpPr/>
          <p:nvPr/>
        </p:nvSpPr>
        <p:spPr>
          <a:xfrm>
            <a:off x="4595640" y="2764952"/>
            <a:ext cx="64800" cy="648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162167" y="897800"/>
            <a:ext cx="2282736" cy="1254642"/>
            <a:chOff x="7010783" y="4180358"/>
            <a:chExt cx="2282736" cy="1269739"/>
          </a:xfrm>
        </p:grpSpPr>
        <p:sp>
          <p:nvSpPr>
            <p:cNvPr id="22" name="Abgerundetes Rechteck 21"/>
            <p:cNvSpPr/>
            <p:nvPr/>
          </p:nvSpPr>
          <p:spPr>
            <a:xfrm>
              <a:off x="7139589" y="4180358"/>
              <a:ext cx="2153930" cy="1269739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99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99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19274" tIns="19274" rIns="19274" bIns="19274" spcCol="1270" anchor="ctr">
              <a:spAutoFit/>
            </a:bodyPr>
            <a:lstStyle/>
            <a:p>
              <a:pPr defTabSz="400050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sk-SK" sz="900" noProof="1">
                  <a:solidFill>
                    <a:schemeClr val="tx1"/>
                  </a:solidFill>
                </a:rPr>
                <a:t>Skupina Miba Sinter</a:t>
              </a:r>
            </a:p>
            <a:p>
              <a:pPr defTabSz="400050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sk-SK" sz="900" noProof="1">
                  <a:solidFill>
                    <a:schemeClr val="tx1"/>
                  </a:solidFill>
                </a:rPr>
                <a:t>Skupina Miba Bearing</a:t>
              </a:r>
            </a:p>
            <a:p>
              <a:pPr defTabSz="400050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sk-SK" sz="900" noProof="1">
                  <a:solidFill>
                    <a:schemeClr val="tx1"/>
                  </a:solidFill>
                </a:rPr>
                <a:t>Skupina Miba Friction</a:t>
              </a:r>
            </a:p>
            <a:p>
              <a:pPr defTabSz="400050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sk-SK" sz="900" noProof="1">
                  <a:solidFill>
                    <a:schemeClr val="tx1"/>
                  </a:solidFill>
                </a:rPr>
                <a:t>Skupina Miba Coating</a:t>
              </a:r>
            </a:p>
            <a:p>
              <a:pPr defTabSz="400050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sk-SK" sz="900" noProof="1">
                  <a:solidFill>
                    <a:schemeClr val="tx1"/>
                  </a:solidFill>
                </a:rPr>
                <a:t>Skupina Miba Power Electronics</a:t>
              </a:r>
            </a:p>
            <a:p>
              <a:pPr defTabSz="400050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sk-SK" sz="900" noProof="1">
                  <a:solidFill>
                    <a:schemeClr val="tx1"/>
                  </a:solidFill>
                </a:rPr>
                <a:t>Skupina Miba Equipment Manufacturing</a:t>
              </a:r>
            </a:p>
          </p:txBody>
        </p:sp>
        <p:sp>
          <p:nvSpPr>
            <p:cNvPr id="23" name="Ellipse 22"/>
            <p:cNvSpPr/>
            <p:nvPr/>
          </p:nvSpPr>
          <p:spPr>
            <a:xfrm>
              <a:off x="7010783" y="4459752"/>
              <a:ext cx="72000" cy="72000"/>
            </a:xfrm>
            <a:prstGeom prst="ellipse">
              <a:avLst/>
            </a:prstGeom>
            <a:solidFill>
              <a:srgbClr val="8C4799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Ellipse 23"/>
            <p:cNvSpPr/>
            <p:nvPr/>
          </p:nvSpPr>
          <p:spPr>
            <a:xfrm>
              <a:off x="7010783" y="4248029"/>
              <a:ext cx="72000" cy="72000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Ellipse 24"/>
            <p:cNvSpPr/>
            <p:nvPr/>
          </p:nvSpPr>
          <p:spPr>
            <a:xfrm>
              <a:off x="7010783" y="4671475"/>
              <a:ext cx="72000" cy="7200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Ellipse 25"/>
            <p:cNvSpPr/>
            <p:nvPr/>
          </p:nvSpPr>
          <p:spPr>
            <a:xfrm>
              <a:off x="7010783" y="4883198"/>
              <a:ext cx="72000" cy="72000"/>
            </a:xfrm>
            <a:prstGeom prst="ellipse">
              <a:avLst/>
            </a:prstGeom>
            <a:solidFill>
              <a:srgbClr val="B40000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Ellipse 27"/>
            <p:cNvSpPr/>
            <p:nvPr/>
          </p:nvSpPr>
          <p:spPr>
            <a:xfrm>
              <a:off x="7010783" y="5094920"/>
              <a:ext cx="72000" cy="72000"/>
            </a:xfrm>
            <a:prstGeom prst="ellipse">
              <a:avLst/>
            </a:prstGeom>
            <a:solidFill>
              <a:srgbClr val="92D050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2"/>
                </a:solidFill>
              </a:endParaRPr>
            </a:p>
          </p:txBody>
        </p:sp>
        <p:sp>
          <p:nvSpPr>
            <p:cNvPr id="52" name="Ellipse 51"/>
            <p:cNvSpPr/>
            <p:nvPr/>
          </p:nvSpPr>
          <p:spPr>
            <a:xfrm>
              <a:off x="7017383" y="5321561"/>
              <a:ext cx="72000" cy="72000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2"/>
                </a:solidFill>
              </a:endParaRPr>
            </a:p>
          </p:txBody>
        </p:sp>
      </p:grpSp>
      <p:sp>
        <p:nvSpPr>
          <p:cNvPr id="49" name="object 3"/>
          <p:cNvSpPr txBox="1"/>
          <p:nvPr/>
        </p:nvSpPr>
        <p:spPr>
          <a:xfrm>
            <a:off x="6660232" y="1563259"/>
            <a:ext cx="2540379" cy="8104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875"/>
              </a:lnSpc>
              <a:spcAft>
                <a:spcPts val="600"/>
              </a:spcAft>
            </a:pPr>
            <a:r>
              <a:rPr lang="sk-SK" sz="3700" b="1" dirty="0">
                <a:solidFill>
                  <a:srgbClr val="002A64"/>
                </a:solidFill>
                <a:latin typeface="+mj-lt"/>
                <a:cs typeface="UniversLTPro-75Black"/>
              </a:rPr>
              <a:t>SPOLU:</a:t>
            </a:r>
          </a:p>
          <a:p>
            <a:pPr marL="12700">
              <a:lnSpc>
                <a:spcPts val="1875"/>
              </a:lnSpc>
            </a:pPr>
            <a:r>
              <a:rPr lang="sk-SK" sz="1600" b="1" dirty="0">
                <a:solidFill>
                  <a:srgbClr val="002A64"/>
                </a:solidFill>
                <a:latin typeface="+mj-lt"/>
                <a:cs typeface="UniversLTPro-75Black"/>
              </a:rPr>
              <a:t>7 </a:t>
            </a:r>
            <a:r>
              <a:rPr lang="de-AT" sz="1600" b="1" dirty="0">
                <a:solidFill>
                  <a:srgbClr val="002A64"/>
                </a:solidFill>
                <a:latin typeface="+mj-lt"/>
                <a:cs typeface="UniversLTPro-75Black"/>
              </a:rPr>
              <a:t>400</a:t>
            </a:r>
            <a:r>
              <a:rPr lang="sk-SK" sz="1600" b="1" dirty="0">
                <a:solidFill>
                  <a:srgbClr val="002A64"/>
                </a:solidFill>
                <a:latin typeface="+mj-lt"/>
                <a:cs typeface="UniversLTPro-75Black"/>
              </a:rPr>
              <a:t> PRACOVNÍKOV</a:t>
            </a:r>
          </a:p>
          <a:p>
            <a:pPr marL="12700">
              <a:lnSpc>
                <a:spcPct val="100000"/>
              </a:lnSpc>
            </a:pPr>
            <a:r>
              <a:rPr lang="sk-SK" sz="1600" b="1" dirty="0">
                <a:solidFill>
                  <a:srgbClr val="002A64"/>
                </a:solidFill>
                <a:latin typeface="+mj-lt"/>
                <a:cs typeface="UniversLTPro-75Black"/>
              </a:rPr>
              <a:t>2</a:t>
            </a:r>
            <a:r>
              <a:rPr lang="de-AT" sz="1600" b="1" dirty="0">
                <a:solidFill>
                  <a:srgbClr val="002A64"/>
                </a:solidFill>
                <a:latin typeface="+mj-lt"/>
                <a:cs typeface="UniversLTPro-75Black"/>
              </a:rPr>
              <a:t>6</a:t>
            </a:r>
            <a:r>
              <a:rPr lang="sk-SK" sz="1600" b="1" dirty="0">
                <a:solidFill>
                  <a:srgbClr val="002A64"/>
                </a:solidFill>
                <a:latin typeface="+mj-lt"/>
                <a:cs typeface="UniversLTPro-75Black"/>
              </a:rPr>
              <a:t> ZÁVODOV</a:t>
            </a:r>
          </a:p>
        </p:txBody>
      </p:sp>
      <p:sp>
        <p:nvSpPr>
          <p:cNvPr id="53" name="Ellipse 52"/>
          <p:cNvSpPr/>
          <p:nvPr/>
        </p:nvSpPr>
        <p:spPr>
          <a:xfrm>
            <a:off x="1936531" y="2946228"/>
            <a:ext cx="64800" cy="64800"/>
          </a:xfrm>
          <a:prstGeom prst="ellipse">
            <a:avLst/>
          </a:prstGeom>
          <a:solidFill>
            <a:srgbClr val="8C479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Ellipse 55"/>
          <p:cNvSpPr/>
          <p:nvPr/>
        </p:nvSpPr>
        <p:spPr>
          <a:xfrm rot="5400000">
            <a:off x="1968931" y="3262217"/>
            <a:ext cx="64800" cy="64800"/>
          </a:xfrm>
          <a:prstGeom prst="ellipse">
            <a:avLst/>
          </a:prstGeom>
          <a:solidFill>
            <a:srgbClr val="8C479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Ellipse 56"/>
          <p:cNvSpPr/>
          <p:nvPr/>
        </p:nvSpPr>
        <p:spPr>
          <a:xfrm rot="5400000">
            <a:off x="2123059" y="2877513"/>
            <a:ext cx="64800" cy="64800"/>
          </a:xfrm>
          <a:prstGeom prst="ellipse">
            <a:avLst/>
          </a:prstGeom>
          <a:solidFill>
            <a:srgbClr val="8C479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Ellipse 57"/>
          <p:cNvSpPr/>
          <p:nvPr/>
        </p:nvSpPr>
        <p:spPr>
          <a:xfrm>
            <a:off x="4562247" y="2646927"/>
            <a:ext cx="64800" cy="64800"/>
          </a:xfrm>
          <a:prstGeom prst="ellipse">
            <a:avLst/>
          </a:prstGeom>
          <a:solidFill>
            <a:srgbClr val="8C4799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Rechteck 10">
            <a:extLst>
              <a:ext uri="{FF2B5EF4-FFF2-40B4-BE49-F238E27FC236}">
                <a16:creationId xmlns:a16="http://schemas.microsoft.com/office/drawing/2014/main" id="{520AA605-C312-4298-BCAC-D8670F7949F7}"/>
              </a:ext>
            </a:extLst>
          </p:cNvPr>
          <p:cNvSpPr/>
          <p:nvPr/>
        </p:nvSpPr>
        <p:spPr>
          <a:xfrm>
            <a:off x="277717" y="2361236"/>
            <a:ext cx="1254186" cy="33239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0" tIns="0" rIns="0" bIns="0" spcCol="1270" anchor="t" anchorCtr="0">
            <a:spAutoFit/>
          </a:bodyPr>
          <a:lstStyle/>
          <a:p>
            <a:pPr defTabSz="400050">
              <a:lnSpc>
                <a:spcPct val="90000"/>
              </a:lnSpc>
              <a:spcBef>
                <a:spcPct val="0"/>
              </a:spcBef>
              <a:defRPr/>
            </a:pPr>
            <a:r>
              <a:rPr lang="sk-SK" sz="1200" dirty="0">
                <a:solidFill>
                  <a:schemeClr val="accent2"/>
                </a:solidFill>
              </a:rPr>
              <a:t>Skupina </a:t>
            </a:r>
            <a:br>
              <a:rPr lang="de-AT" sz="1200" dirty="0">
                <a:solidFill>
                  <a:schemeClr val="accent2"/>
                </a:solidFill>
              </a:rPr>
            </a:br>
            <a:r>
              <a:rPr lang="de-AT" sz="1200" dirty="0" err="1">
                <a:solidFill>
                  <a:schemeClr val="accent2"/>
                </a:solidFill>
              </a:rPr>
              <a:t>Miba</a:t>
            </a:r>
            <a:r>
              <a:rPr lang="de-AT" sz="1200" dirty="0">
                <a:solidFill>
                  <a:schemeClr val="accent2"/>
                </a:solidFill>
              </a:rPr>
              <a:t> Sinter </a:t>
            </a:r>
          </a:p>
        </p:txBody>
      </p:sp>
      <p:sp>
        <p:nvSpPr>
          <p:cNvPr id="60" name="Rechteck 9">
            <a:extLst>
              <a:ext uri="{FF2B5EF4-FFF2-40B4-BE49-F238E27FC236}">
                <a16:creationId xmlns:a16="http://schemas.microsoft.com/office/drawing/2014/main" id="{F2C46CB5-127F-4652-A94C-5AE63B129FF5}"/>
              </a:ext>
            </a:extLst>
          </p:cNvPr>
          <p:cNvSpPr/>
          <p:nvPr/>
        </p:nvSpPr>
        <p:spPr>
          <a:xfrm>
            <a:off x="277717" y="2685027"/>
            <a:ext cx="1530000" cy="32464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spcCol="1270" anchor="t"/>
          <a:lstStyle/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/>
                </a:solidFill>
              </a:rPr>
              <a:t>Miba</a:t>
            </a:r>
            <a:r>
              <a:rPr lang="de-AT" sz="800" b="1" dirty="0">
                <a:solidFill>
                  <a:schemeClr val="accent2"/>
                </a:solidFill>
              </a:rPr>
              <a:t> Sinter Austria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chemeClr val="accent2"/>
                </a:solidFill>
              </a:rPr>
              <a:t>Vorchdorf</a:t>
            </a:r>
            <a:r>
              <a:rPr lang="de-AT" sz="800" dirty="0">
                <a:solidFill>
                  <a:schemeClr val="accent2"/>
                </a:solidFill>
              </a:rPr>
              <a:t>, Österreich</a:t>
            </a:r>
          </a:p>
          <a:p>
            <a:pPr defTabSz="400050">
              <a:spcBef>
                <a:spcPct val="0"/>
              </a:spcBef>
              <a:defRPr/>
            </a:pPr>
            <a:endParaRPr lang="de-AT" sz="800" b="1" dirty="0">
              <a:solidFill>
                <a:schemeClr val="accent2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/>
                </a:solidFill>
              </a:rPr>
              <a:t>Miba</a:t>
            </a:r>
            <a:r>
              <a:rPr lang="de-AT" sz="800" b="1" dirty="0">
                <a:solidFill>
                  <a:schemeClr val="accent2"/>
                </a:solidFill>
              </a:rPr>
              <a:t> Sinter </a:t>
            </a:r>
            <a:r>
              <a:rPr lang="de-AT" sz="800" b="1" dirty="0" err="1">
                <a:solidFill>
                  <a:schemeClr val="accent2"/>
                </a:solidFill>
              </a:rPr>
              <a:t>Slovakia</a:t>
            </a:r>
            <a:r>
              <a:rPr lang="de-AT" sz="800" b="1" dirty="0">
                <a:solidFill>
                  <a:schemeClr val="accent2"/>
                </a:solidFill>
              </a:rPr>
              <a:t>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chemeClr val="accent2"/>
                </a:solidFill>
              </a:rPr>
              <a:t>Dolný</a:t>
            </a:r>
            <a:r>
              <a:rPr lang="de-AT" sz="800" dirty="0">
                <a:solidFill>
                  <a:schemeClr val="accent2"/>
                </a:solidFill>
              </a:rPr>
              <a:t> </a:t>
            </a:r>
            <a:r>
              <a:rPr lang="de-AT" sz="800" dirty="0" err="1">
                <a:solidFill>
                  <a:schemeClr val="accent2"/>
                </a:solidFill>
              </a:rPr>
              <a:t>Kubín</a:t>
            </a:r>
            <a:r>
              <a:rPr lang="de-AT" sz="800" dirty="0">
                <a:solidFill>
                  <a:schemeClr val="accent2"/>
                </a:solidFill>
              </a:rPr>
              <a:t>, Slowakei</a:t>
            </a:r>
          </a:p>
          <a:p>
            <a:pPr defTabSz="400050">
              <a:spcBef>
                <a:spcPct val="0"/>
              </a:spcBef>
              <a:defRPr/>
            </a:pPr>
            <a:endParaRPr lang="de-AT" sz="800" b="1" dirty="0">
              <a:solidFill>
                <a:schemeClr val="accent2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/>
                </a:solidFill>
              </a:rPr>
              <a:t>Miba</a:t>
            </a:r>
            <a:r>
              <a:rPr lang="de-AT" sz="800" b="1" dirty="0">
                <a:solidFill>
                  <a:schemeClr val="accent2"/>
                </a:solidFill>
              </a:rPr>
              <a:t> Sinter USA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chemeClr val="accent2"/>
                </a:solidFill>
              </a:rPr>
              <a:t>McConnelsville</a:t>
            </a:r>
            <a:r>
              <a:rPr lang="de-AT" sz="800" dirty="0">
                <a:solidFill>
                  <a:schemeClr val="accent2"/>
                </a:solidFill>
              </a:rPr>
              <a:t>, OH, USA</a:t>
            </a:r>
          </a:p>
          <a:p>
            <a:pPr defTabSz="400050">
              <a:spcBef>
                <a:spcPct val="0"/>
              </a:spcBef>
              <a:defRPr/>
            </a:pPr>
            <a:endParaRPr lang="de-AT" sz="800" b="1" dirty="0">
              <a:solidFill>
                <a:schemeClr val="accent2"/>
              </a:solidFill>
            </a:endParaRPr>
          </a:p>
          <a:p>
            <a:pPr defTabSz="3111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/>
                </a:solidFill>
              </a:rPr>
              <a:t>Miba</a:t>
            </a:r>
            <a:r>
              <a:rPr lang="de-AT" sz="800" b="1" dirty="0">
                <a:solidFill>
                  <a:schemeClr val="accent2"/>
                </a:solidFill>
              </a:rPr>
              <a:t> Precision </a:t>
            </a:r>
            <a:r>
              <a:rPr lang="de-AT" sz="800" b="1" spc="-20" dirty="0">
                <a:solidFill>
                  <a:schemeClr val="accent2"/>
                </a:solidFill>
              </a:rPr>
              <a:t>Components (China) – Sinter </a:t>
            </a:r>
            <a:r>
              <a:rPr lang="de-AT" sz="800" b="1" spc="-20" dirty="0" err="1">
                <a:solidFill>
                  <a:schemeClr val="accent2"/>
                </a:solidFill>
              </a:rPr>
              <a:t>Branch</a:t>
            </a:r>
            <a:endParaRPr lang="de-AT" sz="800" b="1" spc="-20" dirty="0">
              <a:solidFill>
                <a:schemeClr val="accent2"/>
              </a:solidFill>
            </a:endParaRPr>
          </a:p>
          <a:p>
            <a:pPr defTabSz="311150">
              <a:spcBef>
                <a:spcPct val="0"/>
              </a:spcBef>
              <a:defRPr/>
            </a:pPr>
            <a:r>
              <a:rPr lang="de-AT" sz="800" dirty="0">
                <a:solidFill>
                  <a:schemeClr val="accent2"/>
                </a:solidFill>
              </a:rPr>
              <a:t>Suzhou, China</a:t>
            </a:r>
          </a:p>
          <a:p>
            <a:pPr defTabSz="311150">
              <a:spcBef>
                <a:spcPct val="0"/>
              </a:spcBef>
              <a:defRPr/>
            </a:pPr>
            <a:endParaRPr lang="de-AT" sz="800" dirty="0">
              <a:solidFill>
                <a:schemeClr val="accent2"/>
              </a:solidFill>
            </a:endParaRPr>
          </a:p>
          <a:p>
            <a:pPr defTabSz="3111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/>
                </a:solidFill>
              </a:rPr>
              <a:t>Miba</a:t>
            </a:r>
            <a:r>
              <a:rPr lang="de-AT" sz="800" b="1" dirty="0">
                <a:solidFill>
                  <a:schemeClr val="accent2"/>
                </a:solidFill>
              </a:rPr>
              <a:t> Sinter Brasil</a:t>
            </a:r>
          </a:p>
          <a:p>
            <a:pPr defTabSz="311150">
              <a:spcBef>
                <a:spcPct val="0"/>
              </a:spcBef>
              <a:defRPr/>
            </a:pPr>
            <a:r>
              <a:rPr lang="de-AT" sz="800" dirty="0" err="1">
                <a:solidFill>
                  <a:schemeClr val="accent2"/>
                </a:solidFill>
              </a:rPr>
              <a:t>Indaiatuba</a:t>
            </a:r>
            <a:r>
              <a:rPr lang="de-AT" sz="800" dirty="0">
                <a:solidFill>
                  <a:schemeClr val="accent2"/>
                </a:solidFill>
              </a:rPr>
              <a:t>, Brasilien</a:t>
            </a:r>
          </a:p>
          <a:p>
            <a:pPr defTabSz="311150">
              <a:spcBef>
                <a:spcPct val="0"/>
              </a:spcBef>
              <a:defRPr/>
            </a:pPr>
            <a:endParaRPr lang="de-AT" sz="800" b="1" dirty="0">
              <a:solidFill>
                <a:schemeClr val="accent2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/>
                </a:solidFill>
              </a:rPr>
              <a:t>Sintercom</a:t>
            </a:r>
            <a:r>
              <a:rPr lang="de-AT" sz="800" b="1" dirty="0">
                <a:solidFill>
                  <a:schemeClr val="accent2"/>
                </a:solidFill>
              </a:rPr>
              <a:t> </a:t>
            </a:r>
            <a:r>
              <a:rPr lang="de-AT" sz="800" b="1" dirty="0" err="1">
                <a:solidFill>
                  <a:schemeClr val="accent2"/>
                </a:solidFill>
              </a:rPr>
              <a:t>India</a:t>
            </a:r>
            <a:r>
              <a:rPr lang="de-AT" sz="800" b="1" dirty="0">
                <a:solidFill>
                  <a:schemeClr val="accent2"/>
                </a:solidFill>
              </a:rPr>
              <a:t> *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>
                <a:solidFill>
                  <a:schemeClr val="accent2"/>
                </a:solidFill>
              </a:rPr>
              <a:t>Pune, Indien</a:t>
            </a:r>
            <a:endParaRPr lang="de-AT" sz="800" b="1" dirty="0">
              <a:solidFill>
                <a:schemeClr val="tx2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chemeClr val="tx2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/>
                </a:solidFill>
              </a:rPr>
              <a:t>Miba</a:t>
            </a:r>
            <a:r>
              <a:rPr lang="de-AT" sz="800" b="1" dirty="0">
                <a:solidFill>
                  <a:schemeClr val="accent2"/>
                </a:solidFill>
              </a:rPr>
              <a:t> Italia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chemeClr val="accent2"/>
                </a:solidFill>
              </a:rPr>
              <a:t>Rosignano</a:t>
            </a:r>
            <a:r>
              <a:rPr lang="de-AT" sz="800" dirty="0">
                <a:solidFill>
                  <a:schemeClr val="accent2"/>
                </a:solidFill>
              </a:rPr>
              <a:t> Solvay, Italien</a:t>
            </a:r>
          </a:p>
          <a:p>
            <a:pPr defTabSz="355600">
              <a:spcBef>
                <a:spcPct val="0"/>
              </a:spcBef>
              <a:defRPr/>
            </a:pPr>
            <a:endParaRPr lang="de-AT" sz="800" b="1" dirty="0">
              <a:solidFill>
                <a:schemeClr val="accent2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/>
                </a:solidFill>
              </a:rPr>
              <a:t>Miba</a:t>
            </a:r>
            <a:r>
              <a:rPr lang="de-AT" sz="800" b="1" dirty="0">
                <a:solidFill>
                  <a:schemeClr val="accent2"/>
                </a:solidFill>
              </a:rPr>
              <a:t> France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>
                <a:solidFill>
                  <a:schemeClr val="accent2"/>
                </a:solidFill>
              </a:rPr>
              <a:t>Le </a:t>
            </a:r>
            <a:r>
              <a:rPr lang="de-AT" sz="800" dirty="0" err="1">
                <a:solidFill>
                  <a:schemeClr val="accent2"/>
                </a:solidFill>
              </a:rPr>
              <a:t>Plessis</a:t>
            </a:r>
            <a:r>
              <a:rPr lang="de-AT" sz="800" dirty="0">
                <a:solidFill>
                  <a:schemeClr val="accent2"/>
                </a:solidFill>
              </a:rPr>
              <a:t> Robinson, Frankreich</a:t>
            </a:r>
          </a:p>
          <a:p>
            <a:pPr defTabSz="400050">
              <a:spcBef>
                <a:spcPct val="0"/>
              </a:spcBef>
              <a:defRPr/>
            </a:pPr>
            <a:endParaRPr lang="de-AT" sz="800" b="1" dirty="0">
              <a:solidFill>
                <a:schemeClr val="accent2"/>
              </a:solidFill>
            </a:endParaRPr>
          </a:p>
          <a:p>
            <a:pPr defTabSz="35560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/>
                </a:solidFill>
              </a:rPr>
              <a:t>Miba</a:t>
            </a:r>
            <a:r>
              <a:rPr lang="de-AT" sz="800" b="1" dirty="0">
                <a:solidFill>
                  <a:schemeClr val="accent2"/>
                </a:solidFill>
              </a:rPr>
              <a:t> Deutschland</a:t>
            </a:r>
          </a:p>
          <a:p>
            <a:pPr defTabSz="355600">
              <a:spcBef>
                <a:spcPct val="0"/>
              </a:spcBef>
              <a:defRPr/>
            </a:pPr>
            <a:r>
              <a:rPr lang="de-AT" sz="800" dirty="0">
                <a:solidFill>
                  <a:schemeClr val="accent2"/>
                </a:solidFill>
              </a:rPr>
              <a:t>Stuttgart, Deutschland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chemeClr val="tx1"/>
              </a:solidFill>
            </a:endParaRPr>
          </a:p>
        </p:txBody>
      </p:sp>
      <p:sp>
        <p:nvSpPr>
          <p:cNvPr id="61" name="Rechteck 11">
            <a:extLst>
              <a:ext uri="{FF2B5EF4-FFF2-40B4-BE49-F238E27FC236}">
                <a16:creationId xmlns:a16="http://schemas.microsoft.com/office/drawing/2014/main" id="{271A80D7-B947-4CAC-8B07-1BAD76B987CD}"/>
              </a:ext>
            </a:extLst>
          </p:cNvPr>
          <p:cNvSpPr/>
          <p:nvPr/>
        </p:nvSpPr>
        <p:spPr>
          <a:xfrm>
            <a:off x="2001331" y="1098758"/>
            <a:ext cx="1628240" cy="3877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spcCol="1270" anchor="t" anchorCtr="0">
            <a:spAutoFit/>
          </a:bodyPr>
          <a:lstStyle/>
          <a:p>
            <a:pPr defTabSz="400050">
              <a:lnSpc>
                <a:spcPct val="90000"/>
              </a:lnSpc>
              <a:spcBef>
                <a:spcPct val="0"/>
              </a:spcBef>
              <a:defRPr/>
            </a:pPr>
            <a:r>
              <a:rPr lang="sk-SK" sz="1200" noProof="1">
                <a:solidFill>
                  <a:srgbClr val="8C4799"/>
                </a:solidFill>
              </a:rPr>
              <a:t>Skupina</a:t>
            </a:r>
            <a:r>
              <a:rPr lang="sk-SK" sz="1400" noProof="1">
                <a:solidFill>
                  <a:srgbClr val="8C4799"/>
                </a:solidFill>
              </a:rPr>
              <a:t> </a:t>
            </a:r>
            <a:br>
              <a:rPr lang="sk-SK" sz="1400" noProof="1">
                <a:solidFill>
                  <a:srgbClr val="8C4799"/>
                </a:solidFill>
              </a:rPr>
            </a:br>
            <a:r>
              <a:rPr lang="sk-SK" sz="1400" noProof="1">
                <a:solidFill>
                  <a:srgbClr val="8C4799"/>
                </a:solidFill>
              </a:rPr>
              <a:t>Miba Bearing </a:t>
            </a:r>
          </a:p>
        </p:txBody>
      </p:sp>
      <p:sp>
        <p:nvSpPr>
          <p:cNvPr id="62" name="Rechteck 16">
            <a:extLst>
              <a:ext uri="{FF2B5EF4-FFF2-40B4-BE49-F238E27FC236}">
                <a16:creationId xmlns:a16="http://schemas.microsoft.com/office/drawing/2014/main" id="{9BCA8730-E8C0-4781-AA79-FF8B60AB51D4}"/>
              </a:ext>
            </a:extLst>
          </p:cNvPr>
          <p:cNvSpPr/>
          <p:nvPr/>
        </p:nvSpPr>
        <p:spPr>
          <a:xfrm>
            <a:off x="2009205" y="1707392"/>
            <a:ext cx="1568096" cy="45224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spcCol="1270" anchor="t"/>
          <a:lstStyle/>
          <a:p>
            <a:pPr defTabSz="400050">
              <a:spcBef>
                <a:spcPct val="0"/>
              </a:spcBef>
              <a:spcAft>
                <a:spcPts val="400"/>
              </a:spcAft>
              <a:defRPr/>
            </a:pPr>
            <a:r>
              <a:rPr lang="de-AT" sz="800" b="1" u="sng" dirty="0">
                <a:solidFill>
                  <a:srgbClr val="8C4799"/>
                </a:solidFill>
              </a:rPr>
              <a:t>Engine </a:t>
            </a:r>
            <a:r>
              <a:rPr lang="de-AT" sz="800" b="1" u="sng" dirty="0" err="1">
                <a:solidFill>
                  <a:srgbClr val="8C4799"/>
                </a:solidFill>
              </a:rPr>
              <a:t>Bearing</a:t>
            </a:r>
            <a:r>
              <a:rPr lang="de-AT" sz="800" b="1" u="sng" dirty="0">
                <a:solidFill>
                  <a:srgbClr val="8C4799"/>
                </a:solidFill>
              </a:rPr>
              <a:t> </a:t>
            </a:r>
            <a:r>
              <a:rPr lang="de-AT" sz="800" b="1" u="sng" dirty="0" err="1">
                <a:solidFill>
                  <a:srgbClr val="8C4799"/>
                </a:solidFill>
              </a:rPr>
              <a:t>Branch</a:t>
            </a:r>
            <a:endParaRPr lang="de-AT" sz="800" b="1" u="sng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spcAft>
                <a:spcPts val="400"/>
              </a:spcAft>
              <a:defRPr/>
            </a:pPr>
            <a:r>
              <a:rPr lang="de-AT" sz="800" b="1" dirty="0" err="1">
                <a:solidFill>
                  <a:srgbClr val="8C4799"/>
                </a:solidFill>
              </a:rPr>
              <a:t>Miba</a:t>
            </a:r>
            <a:r>
              <a:rPr lang="de-AT" sz="800" b="1" dirty="0">
                <a:solidFill>
                  <a:srgbClr val="8C4799"/>
                </a:solidFill>
              </a:rPr>
              <a:t> Gleitlager Austria</a:t>
            </a:r>
          </a:p>
          <a:p>
            <a:pPr defTabSz="400050">
              <a:spcBef>
                <a:spcPct val="0"/>
              </a:spcBef>
              <a:spcAft>
                <a:spcPts val="400"/>
              </a:spcAft>
              <a:defRPr/>
            </a:pPr>
            <a:r>
              <a:rPr lang="de-AT" sz="800" dirty="0">
                <a:solidFill>
                  <a:srgbClr val="8C4799"/>
                </a:solidFill>
              </a:rPr>
              <a:t>Laakirchen, Österreich</a:t>
            </a:r>
          </a:p>
          <a:p>
            <a:pPr defTabSz="400050">
              <a:spcBef>
                <a:spcPct val="0"/>
              </a:spcBef>
              <a:defRPr/>
            </a:pPr>
            <a:endParaRPr lang="de-AT" sz="800" b="1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rgbClr val="8C4799"/>
                </a:solidFill>
              </a:rPr>
              <a:t>Miba</a:t>
            </a:r>
            <a:r>
              <a:rPr lang="de-AT" sz="800" b="1" dirty="0">
                <a:solidFill>
                  <a:srgbClr val="8C4799"/>
                </a:solidFill>
              </a:rPr>
              <a:t> </a:t>
            </a:r>
            <a:r>
              <a:rPr lang="de-AT" sz="800" b="1" dirty="0" err="1">
                <a:solidFill>
                  <a:srgbClr val="8C4799"/>
                </a:solidFill>
              </a:rPr>
              <a:t>Bearings</a:t>
            </a:r>
            <a:r>
              <a:rPr lang="de-AT" sz="800" b="1" dirty="0">
                <a:solidFill>
                  <a:srgbClr val="8C4799"/>
                </a:solidFill>
              </a:rPr>
              <a:t> US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rgbClr val="8C4799"/>
                </a:solidFill>
              </a:rPr>
              <a:t>McConnelsville</a:t>
            </a:r>
            <a:r>
              <a:rPr lang="de-AT" sz="800" dirty="0">
                <a:solidFill>
                  <a:srgbClr val="8C4799"/>
                </a:solidFill>
              </a:rPr>
              <a:t>, OH, USA</a:t>
            </a:r>
          </a:p>
          <a:p>
            <a:pPr defTabSz="3111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  <a:p>
            <a:pPr defTabSz="311150">
              <a:spcBef>
                <a:spcPct val="0"/>
              </a:spcBef>
              <a:defRPr/>
            </a:pPr>
            <a:r>
              <a:rPr lang="de-AT" sz="800" b="1" dirty="0" err="1">
                <a:solidFill>
                  <a:srgbClr val="8C4799"/>
                </a:solidFill>
              </a:rPr>
              <a:t>Miba</a:t>
            </a:r>
            <a:r>
              <a:rPr lang="de-AT" sz="800" b="1" dirty="0">
                <a:solidFill>
                  <a:srgbClr val="8C4799"/>
                </a:solidFill>
              </a:rPr>
              <a:t> Precision </a:t>
            </a:r>
            <a:r>
              <a:rPr lang="de-AT" sz="800" b="1" spc="-20" dirty="0">
                <a:solidFill>
                  <a:srgbClr val="8C4799"/>
                </a:solidFill>
              </a:rPr>
              <a:t>Components (China) – </a:t>
            </a:r>
            <a:r>
              <a:rPr lang="de-AT" sz="800" b="1" spc="-20" dirty="0" err="1">
                <a:solidFill>
                  <a:srgbClr val="8C4799"/>
                </a:solidFill>
              </a:rPr>
              <a:t>Bearing</a:t>
            </a:r>
            <a:r>
              <a:rPr lang="de-AT" sz="800" b="1" spc="-20" dirty="0">
                <a:solidFill>
                  <a:srgbClr val="8C4799"/>
                </a:solidFill>
              </a:rPr>
              <a:t> </a:t>
            </a:r>
            <a:r>
              <a:rPr lang="de-AT" sz="800" b="1" spc="-20" dirty="0" err="1">
                <a:solidFill>
                  <a:srgbClr val="8C4799"/>
                </a:solidFill>
              </a:rPr>
              <a:t>Branch</a:t>
            </a:r>
            <a:endParaRPr lang="de-AT" sz="800" b="1" spc="-20" dirty="0">
              <a:solidFill>
                <a:srgbClr val="8C4799"/>
              </a:solidFill>
            </a:endParaRPr>
          </a:p>
          <a:p>
            <a:pPr defTabSz="311150">
              <a:spcBef>
                <a:spcPct val="0"/>
              </a:spcBef>
              <a:defRPr/>
            </a:pPr>
            <a:r>
              <a:rPr lang="de-AT" sz="800" spc="-20" dirty="0">
                <a:solidFill>
                  <a:srgbClr val="8C4799"/>
                </a:solidFill>
              </a:rPr>
              <a:t>Suzhou, China</a:t>
            </a:r>
          </a:p>
          <a:p>
            <a:pPr defTabSz="400050">
              <a:spcBef>
                <a:spcPct val="0"/>
              </a:spcBef>
              <a:defRPr/>
            </a:pPr>
            <a:endParaRPr lang="de-AT" sz="800" b="1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rgbClr val="8C4799"/>
                </a:solidFill>
              </a:rPr>
              <a:t>Miba</a:t>
            </a:r>
            <a:r>
              <a:rPr lang="de-AT" sz="800" b="1" dirty="0">
                <a:solidFill>
                  <a:srgbClr val="8C4799"/>
                </a:solidFill>
              </a:rPr>
              <a:t> </a:t>
            </a:r>
            <a:r>
              <a:rPr lang="de-AT" sz="800" b="1" dirty="0" err="1">
                <a:solidFill>
                  <a:srgbClr val="8C4799"/>
                </a:solidFill>
              </a:rPr>
              <a:t>Bearings</a:t>
            </a:r>
            <a:r>
              <a:rPr lang="de-AT" sz="800" b="1" dirty="0">
                <a:solidFill>
                  <a:srgbClr val="8C4799"/>
                </a:solidFill>
              </a:rPr>
              <a:t> Materials </a:t>
            </a:r>
            <a:r>
              <a:rPr lang="de-AT" sz="800" dirty="0" err="1">
                <a:solidFill>
                  <a:srgbClr val="8C4799"/>
                </a:solidFill>
              </a:rPr>
              <a:t>Aurachkirchen</a:t>
            </a:r>
            <a:r>
              <a:rPr lang="de-AT" sz="800" dirty="0">
                <a:solidFill>
                  <a:srgbClr val="8C4799"/>
                </a:solidFill>
              </a:rPr>
              <a:t>, Österreich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>
                <a:solidFill>
                  <a:srgbClr val="8C4799"/>
                </a:solidFill>
              </a:rPr>
              <a:t>ABM </a:t>
            </a:r>
            <a:r>
              <a:rPr lang="de-AT" sz="800" b="1" dirty="0" err="1">
                <a:solidFill>
                  <a:srgbClr val="8C4799"/>
                </a:solidFill>
              </a:rPr>
              <a:t>Advanced</a:t>
            </a:r>
            <a:r>
              <a:rPr lang="de-AT" sz="800" b="1" dirty="0">
                <a:solidFill>
                  <a:srgbClr val="8C4799"/>
                </a:solidFill>
              </a:rPr>
              <a:t> </a:t>
            </a:r>
            <a:r>
              <a:rPr lang="de-AT" sz="800" b="1" dirty="0" err="1">
                <a:solidFill>
                  <a:srgbClr val="8C4799"/>
                </a:solidFill>
              </a:rPr>
              <a:t>Bearing</a:t>
            </a:r>
            <a:r>
              <a:rPr lang="de-AT" sz="800" b="1" dirty="0">
                <a:solidFill>
                  <a:srgbClr val="8C4799"/>
                </a:solidFill>
              </a:rPr>
              <a:t> Materials  *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rgbClr val="8C4799"/>
                </a:solidFill>
              </a:rPr>
              <a:t>Greensburg</a:t>
            </a:r>
            <a:r>
              <a:rPr lang="de-AT" sz="800" dirty="0">
                <a:solidFill>
                  <a:srgbClr val="8C4799"/>
                </a:solidFill>
              </a:rPr>
              <a:t>, IN, USA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spcAft>
                <a:spcPts val="400"/>
              </a:spcAft>
              <a:defRPr/>
            </a:pPr>
            <a:r>
              <a:rPr lang="de-AT" sz="800" b="1" u="sng" dirty="0">
                <a:solidFill>
                  <a:srgbClr val="8C4799"/>
                </a:solidFill>
              </a:rPr>
              <a:t>Industrial </a:t>
            </a:r>
            <a:r>
              <a:rPr lang="de-AT" sz="800" b="1" u="sng" dirty="0" err="1">
                <a:solidFill>
                  <a:srgbClr val="8C4799"/>
                </a:solidFill>
              </a:rPr>
              <a:t>Bearing</a:t>
            </a:r>
            <a:r>
              <a:rPr lang="de-AT" sz="800" b="1" u="sng" dirty="0">
                <a:solidFill>
                  <a:srgbClr val="8C4799"/>
                </a:solidFill>
              </a:rPr>
              <a:t> </a:t>
            </a:r>
            <a:r>
              <a:rPr lang="de-AT" sz="800" b="1" u="sng" dirty="0" err="1">
                <a:solidFill>
                  <a:srgbClr val="8C4799"/>
                </a:solidFill>
              </a:rPr>
              <a:t>Branch</a:t>
            </a:r>
            <a:endParaRPr lang="de-AT" sz="800" b="1" u="sng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spcAft>
                <a:spcPts val="400"/>
              </a:spcAft>
              <a:defRPr/>
            </a:pPr>
            <a:r>
              <a:rPr lang="de-AT" sz="800" b="1" dirty="0" err="1">
                <a:solidFill>
                  <a:srgbClr val="8C4799"/>
                </a:solidFill>
              </a:rPr>
              <a:t>Miba</a:t>
            </a:r>
            <a:r>
              <a:rPr lang="de-AT" sz="800" b="1" dirty="0">
                <a:solidFill>
                  <a:srgbClr val="8C4799"/>
                </a:solidFill>
              </a:rPr>
              <a:t> Industrial </a:t>
            </a:r>
            <a:r>
              <a:rPr lang="de-AT" sz="800" b="1" dirty="0" err="1">
                <a:solidFill>
                  <a:srgbClr val="8C4799"/>
                </a:solidFill>
              </a:rPr>
              <a:t>Bearings</a:t>
            </a:r>
            <a:r>
              <a:rPr lang="de-AT" sz="800" b="1" dirty="0">
                <a:solidFill>
                  <a:srgbClr val="8C4799"/>
                </a:solidFill>
              </a:rPr>
              <a:t> Germany </a:t>
            </a:r>
            <a:br>
              <a:rPr lang="de-AT" sz="800" b="1" dirty="0">
                <a:solidFill>
                  <a:srgbClr val="8C4799"/>
                </a:solidFill>
              </a:rPr>
            </a:br>
            <a:r>
              <a:rPr lang="de-AT" sz="800" dirty="0">
                <a:solidFill>
                  <a:srgbClr val="8C4799"/>
                </a:solidFill>
              </a:rPr>
              <a:t>Göttingen, Deutschland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rgbClr val="8C4799"/>
                </a:solidFill>
              </a:rPr>
              <a:t>Miba</a:t>
            </a:r>
            <a:r>
              <a:rPr lang="de-AT" sz="800" b="1" dirty="0">
                <a:solidFill>
                  <a:srgbClr val="8C4799"/>
                </a:solidFill>
              </a:rPr>
              <a:t> Industrial </a:t>
            </a:r>
            <a:r>
              <a:rPr lang="de-AT" sz="800" b="1" dirty="0" err="1">
                <a:solidFill>
                  <a:srgbClr val="8C4799"/>
                </a:solidFill>
              </a:rPr>
              <a:t>Bearings</a:t>
            </a:r>
            <a:r>
              <a:rPr lang="de-AT" sz="800" b="1" dirty="0">
                <a:solidFill>
                  <a:srgbClr val="8C4799"/>
                </a:solidFill>
              </a:rPr>
              <a:t> U.S.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rgbClr val="8C4799"/>
                </a:solidFill>
              </a:rPr>
              <a:t>Grafton</a:t>
            </a:r>
            <a:r>
              <a:rPr lang="de-AT" sz="800" dirty="0">
                <a:solidFill>
                  <a:srgbClr val="8C4799"/>
                </a:solidFill>
              </a:rPr>
              <a:t>, WI, USA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rgbClr val="8C4799"/>
                </a:solidFill>
              </a:rPr>
              <a:t>Miba</a:t>
            </a:r>
            <a:r>
              <a:rPr lang="de-AT" sz="800" b="1" dirty="0">
                <a:solidFill>
                  <a:srgbClr val="8C4799"/>
                </a:solidFill>
              </a:rPr>
              <a:t> Industrial </a:t>
            </a:r>
            <a:r>
              <a:rPr lang="de-AT" sz="800" b="1" dirty="0" err="1">
                <a:solidFill>
                  <a:srgbClr val="8C4799"/>
                </a:solidFill>
              </a:rPr>
              <a:t>Bearings</a:t>
            </a:r>
            <a:r>
              <a:rPr lang="de-AT" sz="800" b="1" dirty="0">
                <a:solidFill>
                  <a:srgbClr val="8C4799"/>
                </a:solidFill>
              </a:rPr>
              <a:t> U.S.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>
                <a:solidFill>
                  <a:srgbClr val="8C4799"/>
                </a:solidFill>
              </a:rPr>
              <a:t>St. Columbus, NE, USA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rgbClr val="8C4799"/>
                </a:solidFill>
              </a:rPr>
              <a:t>Miba</a:t>
            </a:r>
            <a:r>
              <a:rPr lang="de-AT" sz="800" b="1" dirty="0">
                <a:solidFill>
                  <a:srgbClr val="8C4799"/>
                </a:solidFill>
              </a:rPr>
              <a:t> Industrial </a:t>
            </a:r>
            <a:r>
              <a:rPr lang="de-AT" sz="800" b="1" dirty="0" err="1">
                <a:solidFill>
                  <a:srgbClr val="8C4799"/>
                </a:solidFill>
              </a:rPr>
              <a:t>Bearings</a:t>
            </a:r>
            <a:r>
              <a:rPr lang="de-AT" sz="800" b="1" dirty="0">
                <a:solidFill>
                  <a:srgbClr val="8C4799"/>
                </a:solidFill>
              </a:rPr>
              <a:t> U.S. (Houston)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rgbClr val="8C4799"/>
                </a:solidFill>
              </a:rPr>
              <a:t>Deer</a:t>
            </a:r>
            <a:r>
              <a:rPr lang="de-AT" sz="800" dirty="0">
                <a:solidFill>
                  <a:srgbClr val="8C4799"/>
                </a:solidFill>
              </a:rPr>
              <a:t> Park, TX, USA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8C4799"/>
              </a:solidFill>
            </a:endParaRPr>
          </a:p>
        </p:txBody>
      </p:sp>
      <p:sp>
        <p:nvSpPr>
          <p:cNvPr id="63" name="Rechteck 12">
            <a:extLst>
              <a:ext uri="{FF2B5EF4-FFF2-40B4-BE49-F238E27FC236}">
                <a16:creationId xmlns:a16="http://schemas.microsoft.com/office/drawing/2014/main" id="{9064E98B-88DD-4134-B979-A3D414093F68}"/>
              </a:ext>
            </a:extLst>
          </p:cNvPr>
          <p:cNvSpPr/>
          <p:nvPr/>
        </p:nvSpPr>
        <p:spPr>
          <a:xfrm>
            <a:off x="3596880" y="1137146"/>
            <a:ext cx="1628240" cy="33239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spcCol="1270" anchor="t" anchorCtr="0">
            <a:spAutoFit/>
          </a:bodyPr>
          <a:lstStyle/>
          <a:p>
            <a:pPr defTabSz="400050">
              <a:lnSpc>
                <a:spcPct val="90000"/>
              </a:lnSpc>
              <a:spcBef>
                <a:spcPct val="0"/>
              </a:spcBef>
              <a:defRPr/>
            </a:pPr>
            <a:r>
              <a:rPr lang="sk-SK" sz="1200" noProof="1">
                <a:solidFill>
                  <a:schemeClr val="accent4"/>
                </a:solidFill>
              </a:rPr>
              <a:t>Skupina </a:t>
            </a:r>
            <a:br>
              <a:rPr lang="sk-SK" sz="1200" noProof="1">
                <a:solidFill>
                  <a:schemeClr val="accent4"/>
                </a:solidFill>
              </a:rPr>
            </a:br>
            <a:r>
              <a:rPr lang="sk-SK" sz="1200" noProof="1">
                <a:solidFill>
                  <a:schemeClr val="accent4"/>
                </a:solidFill>
              </a:rPr>
              <a:t>Miba Friction  </a:t>
            </a:r>
          </a:p>
        </p:txBody>
      </p:sp>
      <p:sp>
        <p:nvSpPr>
          <p:cNvPr id="64" name="Rechteck 17">
            <a:extLst>
              <a:ext uri="{FF2B5EF4-FFF2-40B4-BE49-F238E27FC236}">
                <a16:creationId xmlns:a16="http://schemas.microsoft.com/office/drawing/2014/main" id="{7667F60D-BC7E-4AC4-AEF7-36355E11E243}"/>
              </a:ext>
            </a:extLst>
          </p:cNvPr>
          <p:cNvSpPr/>
          <p:nvPr/>
        </p:nvSpPr>
        <p:spPr>
          <a:xfrm>
            <a:off x="3572522" y="1706462"/>
            <a:ext cx="1530000" cy="29207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spcCol="1270" anchor="t"/>
          <a:lstStyle/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4"/>
                </a:solidFill>
              </a:rPr>
              <a:t>Miba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  <a:r>
              <a:rPr lang="de-AT" sz="800" b="1" dirty="0" err="1">
                <a:solidFill>
                  <a:schemeClr val="accent4"/>
                </a:solidFill>
              </a:rPr>
              <a:t>Frictec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chemeClr val="accent4"/>
                </a:solidFill>
              </a:rPr>
              <a:t>Roitham</a:t>
            </a:r>
            <a:r>
              <a:rPr lang="de-AT" sz="800" dirty="0">
                <a:solidFill>
                  <a:schemeClr val="accent4"/>
                </a:solidFill>
              </a:rPr>
              <a:t>, Österreich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chemeClr val="accent4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4"/>
                </a:solidFill>
              </a:rPr>
              <a:t>Miba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  <a:r>
              <a:rPr lang="de-AT" sz="800" b="1" dirty="0" err="1">
                <a:solidFill>
                  <a:schemeClr val="accent4"/>
                </a:solidFill>
              </a:rPr>
              <a:t>Steeltec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chemeClr val="accent4"/>
                </a:solidFill>
              </a:rPr>
              <a:t>Vráble</a:t>
            </a:r>
            <a:r>
              <a:rPr lang="de-AT" sz="800" dirty="0">
                <a:solidFill>
                  <a:schemeClr val="accent4"/>
                </a:solidFill>
              </a:rPr>
              <a:t>, Slowakei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chemeClr val="accent4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4"/>
                </a:solidFill>
              </a:rPr>
              <a:t>Miba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  <a:r>
              <a:rPr lang="de-AT" sz="800" b="1" dirty="0" err="1">
                <a:solidFill>
                  <a:schemeClr val="accent4"/>
                </a:solidFill>
              </a:rPr>
              <a:t>HydraMechanica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  <a:r>
              <a:rPr lang="de-AT" sz="800" dirty="0">
                <a:solidFill>
                  <a:schemeClr val="accent4"/>
                </a:solidFill>
              </a:rPr>
              <a:t>Sterling Heights, MI, USA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chemeClr val="accent4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4"/>
                </a:solidFill>
              </a:rPr>
              <a:t>Miba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  <a:r>
              <a:rPr lang="de-AT" sz="800" b="1" dirty="0" err="1">
                <a:solidFill>
                  <a:schemeClr val="accent4"/>
                </a:solidFill>
              </a:rPr>
              <a:t>Drivetec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  <a:r>
              <a:rPr lang="de-AT" sz="800" b="1" dirty="0" err="1">
                <a:solidFill>
                  <a:schemeClr val="accent4"/>
                </a:solidFill>
              </a:rPr>
              <a:t>India</a:t>
            </a:r>
            <a:endParaRPr lang="de-AT" sz="800" b="1" dirty="0">
              <a:solidFill>
                <a:schemeClr val="accent4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dirty="0">
                <a:solidFill>
                  <a:schemeClr val="accent4"/>
                </a:solidFill>
              </a:rPr>
              <a:t>Pune, Indien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chemeClr val="accent4"/>
              </a:solidFill>
            </a:endParaRPr>
          </a:p>
          <a:p>
            <a:pPr defTabSz="3111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4"/>
                </a:solidFill>
              </a:rPr>
              <a:t>Miba</a:t>
            </a:r>
            <a:r>
              <a:rPr lang="de-AT" sz="800" b="1" dirty="0">
                <a:solidFill>
                  <a:schemeClr val="accent4"/>
                </a:solidFill>
              </a:rPr>
              <a:t> Precision </a:t>
            </a:r>
            <a:r>
              <a:rPr lang="de-AT" sz="800" b="1" spc="-20" dirty="0">
                <a:solidFill>
                  <a:schemeClr val="accent4"/>
                </a:solidFill>
              </a:rPr>
              <a:t>Components (China) – </a:t>
            </a:r>
            <a:r>
              <a:rPr lang="de-AT" sz="800" b="1" spc="-20" dirty="0" err="1">
                <a:solidFill>
                  <a:schemeClr val="accent4"/>
                </a:solidFill>
              </a:rPr>
              <a:t>Friction</a:t>
            </a:r>
            <a:r>
              <a:rPr lang="de-AT" sz="800" b="1" spc="-20" dirty="0">
                <a:solidFill>
                  <a:schemeClr val="accent4"/>
                </a:solidFill>
              </a:rPr>
              <a:t> </a:t>
            </a:r>
            <a:r>
              <a:rPr lang="de-AT" sz="800" b="1" spc="-20" dirty="0" err="1">
                <a:solidFill>
                  <a:schemeClr val="accent4"/>
                </a:solidFill>
              </a:rPr>
              <a:t>Branch</a:t>
            </a:r>
            <a:endParaRPr lang="de-AT" sz="800" b="1" spc="-20" dirty="0">
              <a:solidFill>
                <a:schemeClr val="accent4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spc="-20" dirty="0">
                <a:solidFill>
                  <a:schemeClr val="accent4"/>
                </a:solidFill>
              </a:rPr>
              <a:t>Suzhou, China</a:t>
            </a:r>
            <a:endParaRPr lang="de-AT" sz="800" dirty="0">
              <a:solidFill>
                <a:schemeClr val="accent4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endParaRPr lang="de-AT" sz="800" b="1" dirty="0">
              <a:solidFill>
                <a:schemeClr val="accent4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4"/>
                </a:solidFill>
              </a:rPr>
              <a:t>Fibertec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  <a:r>
              <a:rPr lang="de-AT" sz="800" b="1" dirty="0" err="1">
                <a:solidFill>
                  <a:schemeClr val="accent4"/>
                </a:solidFill>
              </a:rPr>
              <a:t>Štětí</a:t>
            </a:r>
            <a:r>
              <a:rPr lang="de-AT" sz="800" b="1" dirty="0">
                <a:solidFill>
                  <a:schemeClr val="accent4"/>
                </a:solidFill>
              </a:rPr>
              <a:t>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chemeClr val="accent4"/>
                </a:solidFill>
              </a:rPr>
              <a:t>Štětí</a:t>
            </a:r>
            <a:r>
              <a:rPr lang="de-AT" sz="800" dirty="0">
                <a:solidFill>
                  <a:schemeClr val="accent4"/>
                </a:solidFill>
              </a:rPr>
              <a:t>, Tschechien</a:t>
            </a:r>
          </a:p>
          <a:p>
            <a:pPr defTabSz="311150">
              <a:spcBef>
                <a:spcPct val="0"/>
              </a:spcBef>
              <a:defRPr/>
            </a:pPr>
            <a:endParaRPr lang="de-AT" sz="800" spc="-20" dirty="0">
              <a:solidFill>
                <a:schemeClr val="tx2"/>
              </a:solidFill>
            </a:endParaRPr>
          </a:p>
        </p:txBody>
      </p:sp>
      <p:sp>
        <p:nvSpPr>
          <p:cNvPr id="65" name="Rechteck 18">
            <a:extLst>
              <a:ext uri="{FF2B5EF4-FFF2-40B4-BE49-F238E27FC236}">
                <a16:creationId xmlns:a16="http://schemas.microsoft.com/office/drawing/2014/main" id="{851F3F99-199D-49B5-A98C-BD0FE7636496}"/>
              </a:ext>
            </a:extLst>
          </p:cNvPr>
          <p:cNvSpPr/>
          <p:nvPr/>
        </p:nvSpPr>
        <p:spPr>
          <a:xfrm>
            <a:off x="5171667" y="1161885"/>
            <a:ext cx="1579204" cy="33239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spcCol="1270" anchor="t" anchorCtr="0">
            <a:spAutoFit/>
          </a:bodyPr>
          <a:lstStyle/>
          <a:p>
            <a:pPr defTabSz="400050">
              <a:lnSpc>
                <a:spcPct val="90000"/>
              </a:lnSpc>
              <a:spcBef>
                <a:spcPct val="0"/>
              </a:spcBef>
              <a:defRPr/>
            </a:pPr>
            <a:r>
              <a:rPr lang="sk-SK" sz="1200" noProof="1">
                <a:solidFill>
                  <a:srgbClr val="96C83C"/>
                </a:solidFill>
              </a:rPr>
              <a:t>Skupina Miba </a:t>
            </a:r>
            <a:br>
              <a:rPr lang="sk-SK" sz="1200" noProof="1">
                <a:solidFill>
                  <a:srgbClr val="96C83C"/>
                </a:solidFill>
              </a:rPr>
            </a:br>
            <a:r>
              <a:rPr lang="sk-SK" sz="1200" noProof="1">
                <a:solidFill>
                  <a:srgbClr val="96C83C"/>
                </a:solidFill>
              </a:rPr>
              <a:t>Power Electronics</a:t>
            </a:r>
          </a:p>
        </p:txBody>
      </p:sp>
      <p:sp>
        <p:nvSpPr>
          <p:cNvPr id="66" name="Rechteck 19">
            <a:extLst>
              <a:ext uri="{FF2B5EF4-FFF2-40B4-BE49-F238E27FC236}">
                <a16:creationId xmlns:a16="http://schemas.microsoft.com/office/drawing/2014/main" id="{36896B02-0BE9-4C71-A53C-0F0797E410E1}"/>
              </a:ext>
            </a:extLst>
          </p:cNvPr>
          <p:cNvSpPr/>
          <p:nvPr/>
        </p:nvSpPr>
        <p:spPr>
          <a:xfrm>
            <a:off x="5169577" y="1604208"/>
            <a:ext cx="1661250" cy="33378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spcCol="1270" anchor="t"/>
          <a:lstStyle/>
          <a:p>
            <a:pPr defTabSz="400050">
              <a:spcBef>
                <a:spcPct val="0"/>
              </a:spcBef>
              <a:defRPr/>
            </a:pPr>
            <a:r>
              <a:rPr lang="de-AT" sz="800" b="1" dirty="0">
                <a:solidFill>
                  <a:srgbClr val="96C83C"/>
                </a:solidFill>
              </a:rPr>
              <a:t>EBG Elektronische </a:t>
            </a:r>
            <a:r>
              <a:rPr lang="de-AT" sz="800" b="1" dirty="0">
                <a:solidFill>
                  <a:srgbClr val="92D050"/>
                </a:solidFill>
              </a:rPr>
              <a:t>Bauelemente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>
                <a:solidFill>
                  <a:srgbClr val="92D050"/>
                </a:solidFill>
              </a:rPr>
              <a:t>Kirchbach, Österreich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>
                <a:solidFill>
                  <a:srgbClr val="92D050"/>
                </a:solidFill>
              </a:rPr>
              <a:t>St. Stefan, Österreich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96C83C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>
                <a:solidFill>
                  <a:srgbClr val="96C83C"/>
                </a:solidFill>
              </a:rPr>
              <a:t>DAU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>
                <a:solidFill>
                  <a:srgbClr val="96C83C"/>
                </a:solidFill>
              </a:rPr>
              <a:t>Ligist, Österreich</a:t>
            </a:r>
          </a:p>
          <a:p>
            <a:pPr defTabSz="400050">
              <a:spcBef>
                <a:spcPct val="0"/>
              </a:spcBef>
              <a:defRPr/>
            </a:pPr>
            <a:endParaRPr lang="de-AT" sz="800" b="1" dirty="0">
              <a:solidFill>
                <a:srgbClr val="96C83C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>
                <a:solidFill>
                  <a:srgbClr val="96C83C"/>
                </a:solidFill>
              </a:rPr>
              <a:t>EBG </a:t>
            </a:r>
            <a:r>
              <a:rPr lang="de-AT" sz="800" b="1" dirty="0" err="1">
                <a:solidFill>
                  <a:srgbClr val="96C83C"/>
                </a:solidFill>
              </a:rPr>
              <a:t>Shenzhen</a:t>
            </a:r>
            <a:r>
              <a:rPr lang="de-AT" sz="800" b="1" dirty="0">
                <a:solidFill>
                  <a:srgbClr val="96C83C"/>
                </a:solidFill>
              </a:rPr>
              <a:t> * 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rgbClr val="96C83C"/>
                </a:solidFill>
              </a:rPr>
              <a:t>Shenzhen</a:t>
            </a:r>
            <a:r>
              <a:rPr lang="de-AT" sz="800" dirty="0">
                <a:solidFill>
                  <a:srgbClr val="96C83C"/>
                </a:solidFill>
              </a:rPr>
              <a:t>, China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96C83C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>
                <a:solidFill>
                  <a:srgbClr val="96C83C"/>
                </a:solidFill>
              </a:rPr>
              <a:t>EBG </a:t>
            </a:r>
            <a:r>
              <a:rPr lang="de-AT" sz="800" b="1" dirty="0" err="1">
                <a:solidFill>
                  <a:srgbClr val="96C83C"/>
                </a:solidFill>
              </a:rPr>
              <a:t>Resistors</a:t>
            </a:r>
            <a:endParaRPr lang="de-AT" sz="800" b="1" dirty="0">
              <a:solidFill>
                <a:srgbClr val="96C83C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rgbClr val="96C83C"/>
                </a:solidFill>
              </a:rPr>
              <a:t>Middletown</a:t>
            </a:r>
            <a:r>
              <a:rPr lang="de-AT" sz="800" dirty="0">
                <a:solidFill>
                  <a:srgbClr val="96C83C"/>
                </a:solidFill>
              </a:rPr>
              <a:t>, PA, USA</a:t>
            </a:r>
          </a:p>
          <a:p>
            <a:pPr defTabSz="311150">
              <a:spcBef>
                <a:spcPct val="0"/>
              </a:spcBef>
              <a:defRPr/>
            </a:pPr>
            <a:endParaRPr lang="de-AT" sz="800" b="1" dirty="0">
              <a:solidFill>
                <a:srgbClr val="96C83C"/>
              </a:solidFill>
            </a:endParaRPr>
          </a:p>
          <a:p>
            <a:pPr defTabSz="311150">
              <a:spcBef>
                <a:spcPct val="0"/>
              </a:spcBef>
              <a:defRPr/>
            </a:pPr>
            <a:r>
              <a:rPr lang="de-AT" sz="800" b="1" dirty="0">
                <a:solidFill>
                  <a:srgbClr val="96C83C"/>
                </a:solidFill>
              </a:rPr>
              <a:t>EDMS </a:t>
            </a:r>
          </a:p>
          <a:p>
            <a:pPr defTabSz="311150">
              <a:spcBef>
                <a:spcPct val="0"/>
              </a:spcBef>
              <a:defRPr/>
            </a:pPr>
            <a:r>
              <a:rPr lang="de-AT" sz="800" dirty="0" err="1">
                <a:solidFill>
                  <a:srgbClr val="96C83C"/>
                </a:solidFill>
              </a:rPr>
              <a:t>Šentjernej</a:t>
            </a:r>
            <a:r>
              <a:rPr lang="de-AT" sz="800" dirty="0">
                <a:solidFill>
                  <a:srgbClr val="96C83C"/>
                </a:solidFill>
              </a:rPr>
              <a:t>, Slowenien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96C83C"/>
              </a:solidFill>
            </a:endParaRPr>
          </a:p>
        </p:txBody>
      </p:sp>
      <p:sp>
        <p:nvSpPr>
          <p:cNvPr id="67" name="Rechteck 20">
            <a:extLst>
              <a:ext uri="{FF2B5EF4-FFF2-40B4-BE49-F238E27FC236}">
                <a16:creationId xmlns:a16="http://schemas.microsoft.com/office/drawing/2014/main" id="{205E0DC0-B09B-42DA-9CCA-19ACD5F5507A}"/>
              </a:ext>
            </a:extLst>
          </p:cNvPr>
          <p:cNvSpPr/>
          <p:nvPr/>
        </p:nvSpPr>
        <p:spPr>
          <a:xfrm>
            <a:off x="5169577" y="3634102"/>
            <a:ext cx="1588066" cy="33239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8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8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0" tIns="0" rIns="0" bIns="0" spcCol="1270" anchor="t" anchorCtr="0">
            <a:spAutoFit/>
          </a:bodyPr>
          <a:lstStyle/>
          <a:p>
            <a:pPr defTabSz="400050">
              <a:lnSpc>
                <a:spcPct val="90000"/>
              </a:lnSpc>
              <a:spcBef>
                <a:spcPct val="0"/>
              </a:spcBef>
              <a:defRPr/>
            </a:pPr>
            <a:r>
              <a:rPr lang="sk-SK" sz="1200" dirty="0">
                <a:solidFill>
                  <a:srgbClr val="C8003C"/>
                </a:solidFill>
              </a:rPr>
              <a:t>Skupina </a:t>
            </a:r>
            <a:br>
              <a:rPr lang="sk-SK" sz="1200" dirty="0">
                <a:solidFill>
                  <a:srgbClr val="C8003C"/>
                </a:solidFill>
              </a:rPr>
            </a:br>
            <a:r>
              <a:rPr lang="sk-SK" sz="1200" noProof="1">
                <a:solidFill>
                  <a:srgbClr val="C8003C"/>
                </a:solidFill>
              </a:rPr>
              <a:t>Miba Coating  </a:t>
            </a:r>
          </a:p>
        </p:txBody>
      </p:sp>
      <p:sp>
        <p:nvSpPr>
          <p:cNvPr id="68" name="Rechteck 21">
            <a:extLst>
              <a:ext uri="{FF2B5EF4-FFF2-40B4-BE49-F238E27FC236}">
                <a16:creationId xmlns:a16="http://schemas.microsoft.com/office/drawing/2014/main" id="{6226525F-576B-48C6-8EBE-B6008146C000}"/>
              </a:ext>
            </a:extLst>
          </p:cNvPr>
          <p:cNvSpPr/>
          <p:nvPr/>
        </p:nvSpPr>
        <p:spPr>
          <a:xfrm>
            <a:off x="5171667" y="4060173"/>
            <a:ext cx="1530000" cy="1626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spcCol="1270" anchor="t"/>
          <a:lstStyle/>
          <a:p>
            <a:pPr defTabSz="400050">
              <a:spcBef>
                <a:spcPct val="0"/>
              </a:spcBef>
              <a:defRPr/>
            </a:pPr>
            <a:r>
              <a:rPr lang="de-AT" sz="800" b="1" dirty="0">
                <a:solidFill>
                  <a:srgbClr val="C8003C"/>
                </a:solidFill>
              </a:rPr>
              <a:t>High Tech </a:t>
            </a:r>
            <a:r>
              <a:rPr lang="de-AT" sz="800" b="1" dirty="0" err="1">
                <a:solidFill>
                  <a:srgbClr val="C8003C"/>
                </a:solidFill>
              </a:rPr>
              <a:t>Coatings</a:t>
            </a:r>
            <a:r>
              <a:rPr lang="de-AT" sz="800" b="1" dirty="0">
                <a:solidFill>
                  <a:srgbClr val="C8003C"/>
                </a:solidFill>
              </a:rPr>
              <a:t>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rgbClr val="C8003C"/>
                </a:solidFill>
              </a:rPr>
              <a:t>Vorchdorf</a:t>
            </a:r>
            <a:r>
              <a:rPr lang="de-AT" sz="800" dirty="0">
                <a:solidFill>
                  <a:srgbClr val="C8003C"/>
                </a:solidFill>
              </a:rPr>
              <a:t>, Österreich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C8003C"/>
              </a:solidFill>
            </a:endParaRPr>
          </a:p>
          <a:p>
            <a:pPr defTabSz="311150">
              <a:spcBef>
                <a:spcPct val="0"/>
              </a:spcBef>
              <a:defRPr/>
            </a:pPr>
            <a:r>
              <a:rPr lang="de-AT" sz="800" b="1" dirty="0" err="1">
                <a:solidFill>
                  <a:srgbClr val="C8003C"/>
                </a:solidFill>
              </a:rPr>
              <a:t>Miba</a:t>
            </a:r>
            <a:r>
              <a:rPr lang="de-AT" sz="800" b="1" dirty="0">
                <a:solidFill>
                  <a:srgbClr val="C8003C"/>
                </a:solidFill>
              </a:rPr>
              <a:t> Precision </a:t>
            </a:r>
            <a:r>
              <a:rPr lang="de-AT" sz="800" b="1" spc="-20" dirty="0">
                <a:solidFill>
                  <a:srgbClr val="C8003C"/>
                </a:solidFill>
              </a:rPr>
              <a:t>Components (China) – </a:t>
            </a:r>
            <a:r>
              <a:rPr lang="de-AT" sz="800" b="1" spc="-20" dirty="0" err="1">
                <a:solidFill>
                  <a:srgbClr val="C8003C"/>
                </a:solidFill>
              </a:rPr>
              <a:t>Coating</a:t>
            </a:r>
            <a:r>
              <a:rPr lang="de-AT" sz="800" b="1" spc="-20" dirty="0">
                <a:solidFill>
                  <a:srgbClr val="C8003C"/>
                </a:solidFill>
              </a:rPr>
              <a:t> </a:t>
            </a:r>
          </a:p>
          <a:p>
            <a:pPr defTabSz="311150">
              <a:spcBef>
                <a:spcPct val="0"/>
              </a:spcBef>
              <a:defRPr/>
            </a:pPr>
            <a:r>
              <a:rPr lang="de-AT" sz="800" spc="-20" dirty="0">
                <a:solidFill>
                  <a:srgbClr val="C8003C"/>
                </a:solidFill>
              </a:rPr>
              <a:t>Suzhou, China</a:t>
            </a:r>
          </a:p>
          <a:p>
            <a:pPr defTabSz="400050">
              <a:spcBef>
                <a:spcPct val="0"/>
              </a:spcBef>
              <a:defRPr/>
            </a:pPr>
            <a:endParaRPr lang="de-AT" sz="800" dirty="0">
              <a:solidFill>
                <a:srgbClr val="C8003C"/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>
                <a:solidFill>
                  <a:srgbClr val="C8003C"/>
                </a:solidFill>
              </a:rPr>
              <a:t>Teer </a:t>
            </a:r>
            <a:r>
              <a:rPr lang="de-AT" sz="800" b="1" dirty="0" err="1">
                <a:solidFill>
                  <a:srgbClr val="C8003C"/>
                </a:solidFill>
              </a:rPr>
              <a:t>Coatings</a:t>
            </a:r>
            <a:r>
              <a:rPr lang="de-AT" sz="800" b="1" dirty="0">
                <a:solidFill>
                  <a:srgbClr val="C8003C"/>
                </a:solidFill>
              </a:rPr>
              <a:t> 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rgbClr val="C8003C"/>
                </a:solidFill>
              </a:rPr>
              <a:t>Droitwich</a:t>
            </a:r>
            <a:r>
              <a:rPr lang="de-AT" sz="800" dirty="0">
                <a:solidFill>
                  <a:srgbClr val="C8003C"/>
                </a:solidFill>
              </a:rPr>
              <a:t>, Großbritannien</a:t>
            </a:r>
          </a:p>
        </p:txBody>
      </p:sp>
      <p:sp>
        <p:nvSpPr>
          <p:cNvPr id="69" name="Rechteck 22">
            <a:extLst>
              <a:ext uri="{FF2B5EF4-FFF2-40B4-BE49-F238E27FC236}">
                <a16:creationId xmlns:a16="http://schemas.microsoft.com/office/drawing/2014/main" id="{7487B9DF-1C6A-4DBF-97D8-D2F9E7871069}"/>
              </a:ext>
            </a:extLst>
          </p:cNvPr>
          <p:cNvSpPr/>
          <p:nvPr/>
        </p:nvSpPr>
        <p:spPr>
          <a:xfrm>
            <a:off x="6744021" y="3623276"/>
            <a:ext cx="2076308" cy="565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spcCol="1270" anchor="t"/>
          <a:lstStyle/>
          <a:p>
            <a:pPr defTabSz="400050">
              <a:spcBef>
                <a:spcPct val="0"/>
              </a:spcBef>
              <a:defRPr/>
            </a:pPr>
            <a:endParaRPr lang="de-AT" sz="800" b="1" dirty="0">
              <a:solidFill>
                <a:schemeClr val="accent2">
                  <a:lumMod val="50000"/>
                </a:schemeClr>
              </a:solidFill>
            </a:endParaRPr>
          </a:p>
          <a:p>
            <a:pPr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accent2">
                    <a:lumMod val="50000"/>
                  </a:schemeClr>
                </a:solidFill>
              </a:rPr>
              <a:t>Miba</a:t>
            </a:r>
            <a:r>
              <a:rPr lang="de-AT" sz="800" b="1" dirty="0">
                <a:solidFill>
                  <a:schemeClr val="accent2">
                    <a:lumMod val="50000"/>
                  </a:schemeClr>
                </a:solidFill>
              </a:rPr>
              <a:t> Automation Systems</a:t>
            </a:r>
          </a:p>
          <a:p>
            <a:pPr defTabSz="400050">
              <a:spcBef>
                <a:spcPct val="0"/>
              </a:spcBef>
              <a:defRPr/>
            </a:pPr>
            <a:r>
              <a:rPr lang="de-AT" sz="800" dirty="0" err="1">
                <a:solidFill>
                  <a:schemeClr val="accent2">
                    <a:lumMod val="50000"/>
                  </a:schemeClr>
                </a:solidFill>
              </a:rPr>
              <a:t>Aurachkirchen</a:t>
            </a:r>
            <a:r>
              <a:rPr lang="de-AT" sz="800" dirty="0">
                <a:solidFill>
                  <a:schemeClr val="accent2">
                    <a:lumMod val="50000"/>
                  </a:schemeClr>
                </a:solidFill>
              </a:rPr>
              <a:t>, Österreich</a:t>
            </a:r>
          </a:p>
        </p:txBody>
      </p:sp>
      <p:sp>
        <p:nvSpPr>
          <p:cNvPr id="70" name="Textfeld 28">
            <a:extLst>
              <a:ext uri="{FF2B5EF4-FFF2-40B4-BE49-F238E27FC236}">
                <a16:creationId xmlns:a16="http://schemas.microsoft.com/office/drawing/2014/main" id="{E4EB933C-8D5C-42ED-99EC-9601B6D45C64}"/>
              </a:ext>
            </a:extLst>
          </p:cNvPr>
          <p:cNvSpPr txBox="1"/>
          <p:nvPr/>
        </p:nvSpPr>
        <p:spPr>
          <a:xfrm>
            <a:off x="6741651" y="4214296"/>
            <a:ext cx="219544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400050">
              <a:spcBef>
                <a:spcPct val="0"/>
              </a:spcBef>
              <a:defRPr/>
            </a:pPr>
            <a:r>
              <a:rPr lang="de-AT" sz="800" b="1" dirty="0" err="1">
                <a:solidFill>
                  <a:schemeClr val="tx2"/>
                </a:solidFill>
              </a:rPr>
              <a:t>Miba</a:t>
            </a:r>
            <a:r>
              <a:rPr lang="de-AT" sz="800" b="1" dirty="0">
                <a:solidFill>
                  <a:schemeClr val="tx2"/>
                </a:solidFill>
              </a:rPr>
              <a:t> Engineering Center </a:t>
            </a:r>
            <a:br>
              <a:rPr lang="de-AT" sz="800" b="1" dirty="0">
                <a:solidFill>
                  <a:schemeClr val="tx2"/>
                </a:solidFill>
              </a:rPr>
            </a:br>
            <a:r>
              <a:rPr lang="de-AT" sz="800" b="1" dirty="0" err="1">
                <a:solidFill>
                  <a:schemeClr val="tx2"/>
                </a:solidFill>
              </a:rPr>
              <a:t>India</a:t>
            </a:r>
            <a:endParaRPr lang="de-AT" sz="800" b="1" dirty="0">
              <a:solidFill>
                <a:schemeClr val="tx2"/>
              </a:solidFill>
            </a:endParaRPr>
          </a:p>
          <a:p>
            <a:pPr lvl="0" defTabSz="400050">
              <a:spcBef>
                <a:spcPct val="0"/>
              </a:spcBef>
              <a:defRPr/>
            </a:pPr>
            <a:r>
              <a:rPr lang="de-AT" sz="800" dirty="0">
                <a:solidFill>
                  <a:schemeClr val="tx2"/>
                </a:solidFill>
              </a:rPr>
              <a:t>Pune, Indien</a:t>
            </a:r>
          </a:p>
        </p:txBody>
      </p:sp>
      <p:sp>
        <p:nvSpPr>
          <p:cNvPr id="71" name="Textfeld 27">
            <a:extLst>
              <a:ext uri="{FF2B5EF4-FFF2-40B4-BE49-F238E27FC236}">
                <a16:creationId xmlns:a16="http://schemas.microsoft.com/office/drawing/2014/main" id="{2C43D47E-6859-4249-87D7-88845286C953}"/>
              </a:ext>
            </a:extLst>
          </p:cNvPr>
          <p:cNvSpPr txBox="1"/>
          <p:nvPr/>
        </p:nvSpPr>
        <p:spPr>
          <a:xfrm>
            <a:off x="5035081" y="5354688"/>
            <a:ext cx="409038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defTabSz="914400" eaLnBrk="0" fontAlgn="base" hangingPunct="0">
              <a:spcAft>
                <a:spcPct val="0"/>
              </a:spcAft>
              <a:buFont typeface="Arial" panose="020B0604020202020204" pitchFamily="34" charset="0"/>
              <a:buChar char="*"/>
              <a:defRPr/>
            </a:pPr>
            <a:r>
              <a:rPr lang="sk-SK" sz="800" i="1" noProof="1">
                <a:solidFill>
                  <a:srgbClr val="002A64"/>
                </a:solidFill>
                <a:cs typeface="Arial" charset="0"/>
              </a:rPr>
              <a:t>Spoločnosť Miba má 100-percentnú majetkovú účasť na všetkých spoločnostiach     okrem Advanced Beraing Materials (75 %), Sintercom (26 %) a EBG Šen-čen (55 %). </a:t>
            </a:r>
          </a:p>
        </p:txBody>
      </p:sp>
    </p:spTree>
    <p:extLst>
      <p:ext uri="{BB962C8B-B14F-4D97-AF65-F5344CB8AC3E}">
        <p14:creationId xmlns:p14="http://schemas.microsoft.com/office/powerpoint/2010/main" val="199494802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1601" name="Bildplatzhalter 6" descr="wand_bg_miba_141014.jpg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79500"/>
            <a:ext cx="9144000" cy="5778500"/>
          </a:xfrm>
          <a:noFill/>
          <a:ln>
            <a:miter lim="800000"/>
            <a:headEnd/>
            <a:tailEnd/>
          </a:ln>
        </p:spPr>
      </p:pic>
      <p:sp>
        <p:nvSpPr>
          <p:cNvPr id="281602" name="Titel 3"/>
          <p:cNvSpPr>
            <a:spLocks noGrp="1"/>
          </p:cNvSpPr>
          <p:nvPr>
            <p:ph type="title"/>
          </p:nvPr>
        </p:nvSpPr>
        <p:spPr>
          <a:xfrm>
            <a:off x="339725" y="383659"/>
            <a:ext cx="6223000" cy="369332"/>
          </a:xfrm>
        </p:spPr>
        <p:txBody>
          <a:bodyPr/>
          <a:lstStyle/>
          <a:p>
            <a:pPr eaLnBrk="1" hangingPunct="1"/>
            <a:r>
              <a:rPr lang="sk-SK" dirty="0">
                <a:latin typeface="Arial" charset="0"/>
                <a:ea typeface="ＭＳ Ｐゴシック"/>
                <a:cs typeface="ＭＳ Ｐゴシック"/>
              </a:rPr>
              <a:t>Od produktu k aplikácii</a:t>
            </a:r>
            <a:endParaRPr lang="en-US" dirty="0">
              <a:latin typeface="Arial" charset="0"/>
              <a:cs typeface="Arial" charset="0"/>
            </a:endParaRPr>
          </a:p>
        </p:txBody>
      </p:sp>
      <p:grpSp>
        <p:nvGrpSpPr>
          <p:cNvPr id="281603" name="Gruppieren 5"/>
          <p:cNvGrpSpPr>
            <a:grpSpLocks/>
          </p:cNvGrpSpPr>
          <p:nvPr/>
        </p:nvGrpSpPr>
        <p:grpSpPr bwMode="auto">
          <a:xfrm>
            <a:off x="5937250" y="1812925"/>
            <a:ext cx="1530350" cy="3244850"/>
            <a:chOff x="5759451" y="1677988"/>
            <a:chExt cx="1530350" cy="3244850"/>
          </a:xfrm>
        </p:grpSpPr>
        <p:sp>
          <p:nvSpPr>
            <p:cNvPr id="281689" name="object 3"/>
            <p:cNvSpPr>
              <a:spLocks noChangeArrowheads="1"/>
            </p:cNvSpPr>
            <p:nvPr/>
          </p:nvSpPr>
          <p:spPr bwMode="auto">
            <a:xfrm>
              <a:off x="5759451" y="1677988"/>
              <a:ext cx="1530350" cy="1482725"/>
            </a:xfrm>
            <a:prstGeom prst="rect">
              <a:avLst/>
            </a:prstGeom>
            <a:blipFill dpi="0"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90" name="object 4"/>
            <p:cNvSpPr>
              <a:spLocks noChangeArrowheads="1"/>
            </p:cNvSpPr>
            <p:nvPr/>
          </p:nvSpPr>
          <p:spPr bwMode="auto">
            <a:xfrm>
              <a:off x="6492876" y="2530475"/>
              <a:ext cx="0" cy="2273300"/>
            </a:xfrm>
            <a:custGeom>
              <a:avLst/>
              <a:gdLst>
                <a:gd name="T0" fmla="*/ 0 h 2273300"/>
                <a:gd name="T1" fmla="*/ 2272766 h 2273300"/>
                <a:gd name="T2" fmla="*/ 0 60000 65536"/>
                <a:gd name="T3" fmla="*/ 0 60000 65536"/>
                <a:gd name="T4" fmla="*/ 0 h 2273300"/>
                <a:gd name="T5" fmla="*/ 2273300 h 2273300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T4" r="0" b="T5"/>
              <a:pathLst>
                <a:path h="2273300">
                  <a:moveTo>
                    <a:pt x="0" y="0"/>
                  </a:moveTo>
                  <a:lnTo>
                    <a:pt x="0" y="2272766"/>
                  </a:lnTo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91" name="object 5"/>
            <p:cNvSpPr>
              <a:spLocks noChangeArrowheads="1"/>
            </p:cNvSpPr>
            <p:nvPr/>
          </p:nvSpPr>
          <p:spPr bwMode="auto">
            <a:xfrm>
              <a:off x="6081714" y="4098925"/>
              <a:ext cx="823912" cy="823913"/>
            </a:xfrm>
            <a:custGeom>
              <a:avLst/>
              <a:gdLst>
                <a:gd name="T0" fmla="*/ 410900 w 824229"/>
                <a:gd name="T1" fmla="*/ 0 h 824229"/>
                <a:gd name="T2" fmla="*/ 344248 w 824229"/>
                <a:gd name="T3" fmla="*/ 5378 h 824229"/>
                <a:gd name="T4" fmla="*/ 281024 w 824229"/>
                <a:gd name="T5" fmla="*/ 20948 h 824229"/>
                <a:gd name="T6" fmla="*/ 222066 w 824229"/>
                <a:gd name="T7" fmla="*/ 45861 h 824229"/>
                <a:gd name="T8" fmla="*/ 168226 w 824229"/>
                <a:gd name="T9" fmla="*/ 79282 h 824229"/>
                <a:gd name="T10" fmla="*/ 120351 w 824229"/>
                <a:gd name="T11" fmla="*/ 120350 h 824229"/>
                <a:gd name="T12" fmla="*/ 79277 w 824229"/>
                <a:gd name="T13" fmla="*/ 168223 h 824229"/>
                <a:gd name="T14" fmla="*/ 45861 w 824229"/>
                <a:gd name="T15" fmla="*/ 222066 h 824229"/>
                <a:gd name="T16" fmla="*/ 20948 w 824229"/>
                <a:gd name="T17" fmla="*/ 281018 h 824229"/>
                <a:gd name="T18" fmla="*/ 5378 w 824229"/>
                <a:gd name="T19" fmla="*/ 344243 h 824229"/>
                <a:gd name="T20" fmla="*/ 0 w 824229"/>
                <a:gd name="T21" fmla="*/ 410887 h 824229"/>
                <a:gd name="T22" fmla="*/ 1359 w 824229"/>
                <a:gd name="T23" fmla="*/ 444587 h 824229"/>
                <a:gd name="T24" fmla="*/ 11939 w 824229"/>
                <a:gd name="T25" fmla="*/ 509632 h 824229"/>
                <a:gd name="T26" fmla="*/ 32293 w 824229"/>
                <a:gd name="T27" fmla="*/ 570831 h 824229"/>
                <a:gd name="T28" fmla="*/ 61560 w 824229"/>
                <a:gd name="T29" fmla="*/ 627333 h 824229"/>
                <a:gd name="T30" fmla="*/ 98911 w 824229"/>
                <a:gd name="T31" fmla="*/ 678299 h 824229"/>
                <a:gd name="T32" fmla="*/ 143492 w 824229"/>
                <a:gd name="T33" fmla="*/ 722879 h 824229"/>
                <a:gd name="T34" fmla="*/ 194454 w 824229"/>
                <a:gd name="T35" fmla="*/ 760227 h 824229"/>
                <a:gd name="T36" fmla="*/ 250956 w 824229"/>
                <a:gd name="T37" fmla="*/ 789500 h 824229"/>
                <a:gd name="T38" fmla="*/ 312156 w 824229"/>
                <a:gd name="T39" fmla="*/ 809848 h 824229"/>
                <a:gd name="T40" fmla="*/ 377200 w 824229"/>
                <a:gd name="T41" fmla="*/ 820428 h 824229"/>
                <a:gd name="T42" fmla="*/ 410900 w 824229"/>
                <a:gd name="T43" fmla="*/ 821790 h 824229"/>
                <a:gd name="T44" fmla="*/ 444600 w 824229"/>
                <a:gd name="T45" fmla="*/ 820428 h 824229"/>
                <a:gd name="T46" fmla="*/ 509644 w 824229"/>
                <a:gd name="T47" fmla="*/ 809848 h 824229"/>
                <a:gd name="T48" fmla="*/ 570838 w 824229"/>
                <a:gd name="T49" fmla="*/ 789500 h 824229"/>
                <a:gd name="T50" fmla="*/ 627343 w 824229"/>
                <a:gd name="T51" fmla="*/ 760227 h 824229"/>
                <a:gd name="T52" fmla="*/ 678308 w 824229"/>
                <a:gd name="T53" fmla="*/ 722879 h 824229"/>
                <a:gd name="T54" fmla="*/ 722887 w 824229"/>
                <a:gd name="T55" fmla="*/ 678299 h 824229"/>
                <a:gd name="T56" fmla="*/ 760235 w 824229"/>
                <a:gd name="T57" fmla="*/ 627333 h 824229"/>
                <a:gd name="T58" fmla="*/ 789507 w 824229"/>
                <a:gd name="T59" fmla="*/ 570831 h 824229"/>
                <a:gd name="T60" fmla="*/ 809855 w 824229"/>
                <a:gd name="T61" fmla="*/ 509632 h 824229"/>
                <a:gd name="T62" fmla="*/ 820435 w 824229"/>
                <a:gd name="T63" fmla="*/ 444587 h 824229"/>
                <a:gd name="T64" fmla="*/ 821797 w 824229"/>
                <a:gd name="T65" fmla="*/ 410887 h 824229"/>
                <a:gd name="T66" fmla="*/ 820435 w 824229"/>
                <a:gd name="T67" fmla="*/ 377189 h 824229"/>
                <a:gd name="T68" fmla="*/ 809855 w 824229"/>
                <a:gd name="T69" fmla="*/ 312148 h 824229"/>
                <a:gd name="T70" fmla="*/ 789507 w 824229"/>
                <a:gd name="T71" fmla="*/ 250957 h 824229"/>
                <a:gd name="T72" fmla="*/ 760235 w 824229"/>
                <a:gd name="T73" fmla="*/ 194450 h 824229"/>
                <a:gd name="T74" fmla="*/ 722887 w 824229"/>
                <a:gd name="T75" fmla="*/ 143489 h 824229"/>
                <a:gd name="T76" fmla="*/ 678308 w 824229"/>
                <a:gd name="T77" fmla="*/ 98910 h 824229"/>
                <a:gd name="T78" fmla="*/ 627343 w 824229"/>
                <a:gd name="T79" fmla="*/ 61559 h 824229"/>
                <a:gd name="T80" fmla="*/ 570838 w 824229"/>
                <a:gd name="T81" fmla="*/ 32292 h 824229"/>
                <a:gd name="T82" fmla="*/ 509644 w 824229"/>
                <a:gd name="T83" fmla="*/ 11939 h 824229"/>
                <a:gd name="T84" fmla="*/ 444600 w 824229"/>
                <a:gd name="T85" fmla="*/ 1359 h 824229"/>
                <a:gd name="T86" fmla="*/ 410900 w 824229"/>
                <a:gd name="T87" fmla="*/ 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29"/>
                <a:gd name="T133" fmla="*/ 0 h 824229"/>
                <a:gd name="T134" fmla="*/ 824229 w 824229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29" h="824229">
                  <a:moveTo>
                    <a:pt x="411848" y="0"/>
                  </a:moveTo>
                  <a:lnTo>
                    <a:pt x="345044" y="5390"/>
                  </a:lnTo>
                  <a:lnTo>
                    <a:pt x="281672" y="20996"/>
                  </a:lnTo>
                  <a:lnTo>
                    <a:pt x="222580" y="45969"/>
                  </a:lnTo>
                  <a:lnTo>
                    <a:pt x="168616" y="79462"/>
                  </a:lnTo>
                  <a:lnTo>
                    <a:pt x="120627" y="120626"/>
                  </a:lnTo>
                  <a:lnTo>
                    <a:pt x="79462" y="168613"/>
                  </a:lnTo>
                  <a:lnTo>
                    <a:pt x="45969" y="222576"/>
                  </a:lnTo>
                  <a:lnTo>
                    <a:pt x="20996" y="281666"/>
                  </a:lnTo>
                  <a:lnTo>
                    <a:pt x="5390" y="345035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lnTo>
                    <a:pt x="445626" y="822318"/>
                  </a:lnTo>
                  <a:lnTo>
                    <a:pt x="510820" y="811714"/>
                  </a:lnTo>
                  <a:lnTo>
                    <a:pt x="572158" y="791318"/>
                  </a:lnTo>
                  <a:lnTo>
                    <a:pt x="628792" y="761979"/>
                  </a:lnTo>
                  <a:lnTo>
                    <a:pt x="679874" y="724544"/>
                  </a:lnTo>
                  <a:lnTo>
                    <a:pt x="724557" y="679861"/>
                  </a:lnTo>
                  <a:lnTo>
                    <a:pt x="761992" y="628779"/>
                  </a:lnTo>
                  <a:lnTo>
                    <a:pt x="791331" y="572145"/>
                  </a:lnTo>
                  <a:lnTo>
                    <a:pt x="811727" y="510807"/>
                  </a:lnTo>
                  <a:lnTo>
                    <a:pt x="822331" y="445613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92" name="object 6"/>
            <p:cNvSpPr>
              <a:spLocks noChangeArrowheads="1"/>
            </p:cNvSpPr>
            <p:nvPr/>
          </p:nvSpPr>
          <p:spPr bwMode="auto">
            <a:xfrm>
              <a:off x="6081714" y="4117975"/>
              <a:ext cx="823912" cy="804863"/>
            </a:xfrm>
            <a:prstGeom prst="rect">
              <a:avLst/>
            </a:prstGeom>
            <a:blipFill dpi="0"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93" name="object 7"/>
            <p:cNvSpPr>
              <a:spLocks noChangeArrowheads="1"/>
            </p:cNvSpPr>
            <p:nvPr/>
          </p:nvSpPr>
          <p:spPr bwMode="auto">
            <a:xfrm>
              <a:off x="6081714" y="4098925"/>
              <a:ext cx="823912" cy="823913"/>
            </a:xfrm>
            <a:custGeom>
              <a:avLst/>
              <a:gdLst>
                <a:gd name="T0" fmla="*/ 410900 w 824229"/>
                <a:gd name="T1" fmla="*/ 821790 h 824229"/>
                <a:gd name="T2" fmla="*/ 477548 w 824229"/>
                <a:gd name="T3" fmla="*/ 816413 h 824229"/>
                <a:gd name="T4" fmla="*/ 540776 w 824229"/>
                <a:gd name="T5" fmla="*/ 800842 h 824229"/>
                <a:gd name="T6" fmla="*/ 599730 w 824229"/>
                <a:gd name="T7" fmla="*/ 775926 h 824229"/>
                <a:gd name="T8" fmla="*/ 653569 w 824229"/>
                <a:gd name="T9" fmla="*/ 742510 h 824229"/>
                <a:gd name="T10" fmla="*/ 701448 w 824229"/>
                <a:gd name="T11" fmla="*/ 701441 h 824229"/>
                <a:gd name="T12" fmla="*/ 742517 w 824229"/>
                <a:gd name="T13" fmla="*/ 653561 h 824229"/>
                <a:gd name="T14" fmla="*/ 775932 w 824229"/>
                <a:gd name="T15" fmla="*/ 599723 h 824229"/>
                <a:gd name="T16" fmla="*/ 800850 w 824229"/>
                <a:gd name="T17" fmla="*/ 540766 h 824229"/>
                <a:gd name="T18" fmla="*/ 816420 w 824229"/>
                <a:gd name="T19" fmla="*/ 477540 h 824229"/>
                <a:gd name="T20" fmla="*/ 821797 w 824229"/>
                <a:gd name="T21" fmla="*/ 410887 h 824229"/>
                <a:gd name="T22" fmla="*/ 820435 w 824229"/>
                <a:gd name="T23" fmla="*/ 377189 h 824229"/>
                <a:gd name="T24" fmla="*/ 809855 w 824229"/>
                <a:gd name="T25" fmla="*/ 312148 h 824229"/>
                <a:gd name="T26" fmla="*/ 789507 w 824229"/>
                <a:gd name="T27" fmla="*/ 250957 h 824229"/>
                <a:gd name="T28" fmla="*/ 760235 w 824229"/>
                <a:gd name="T29" fmla="*/ 194450 h 824229"/>
                <a:gd name="T30" fmla="*/ 722887 w 824229"/>
                <a:gd name="T31" fmla="*/ 143489 h 824229"/>
                <a:gd name="T32" fmla="*/ 678308 w 824229"/>
                <a:gd name="T33" fmla="*/ 98910 h 824229"/>
                <a:gd name="T34" fmla="*/ 627343 w 824229"/>
                <a:gd name="T35" fmla="*/ 61559 h 824229"/>
                <a:gd name="T36" fmla="*/ 570838 w 824229"/>
                <a:gd name="T37" fmla="*/ 32292 h 824229"/>
                <a:gd name="T38" fmla="*/ 509644 w 824229"/>
                <a:gd name="T39" fmla="*/ 11939 h 824229"/>
                <a:gd name="T40" fmla="*/ 444600 w 824229"/>
                <a:gd name="T41" fmla="*/ 1359 h 824229"/>
                <a:gd name="T42" fmla="*/ 410900 w 824229"/>
                <a:gd name="T43" fmla="*/ 0 h 824229"/>
                <a:gd name="T44" fmla="*/ 377200 w 824229"/>
                <a:gd name="T45" fmla="*/ 1359 h 824229"/>
                <a:gd name="T46" fmla="*/ 312156 w 824229"/>
                <a:gd name="T47" fmla="*/ 11939 h 824229"/>
                <a:gd name="T48" fmla="*/ 250956 w 824229"/>
                <a:gd name="T49" fmla="*/ 32292 h 824229"/>
                <a:gd name="T50" fmla="*/ 194454 w 824229"/>
                <a:gd name="T51" fmla="*/ 61559 h 824229"/>
                <a:gd name="T52" fmla="*/ 143492 w 824229"/>
                <a:gd name="T53" fmla="*/ 98910 h 824229"/>
                <a:gd name="T54" fmla="*/ 98911 w 824229"/>
                <a:gd name="T55" fmla="*/ 143489 h 824229"/>
                <a:gd name="T56" fmla="*/ 61560 w 824229"/>
                <a:gd name="T57" fmla="*/ 194450 h 824229"/>
                <a:gd name="T58" fmla="*/ 32293 w 824229"/>
                <a:gd name="T59" fmla="*/ 250957 h 824229"/>
                <a:gd name="T60" fmla="*/ 11939 w 824229"/>
                <a:gd name="T61" fmla="*/ 312148 h 824229"/>
                <a:gd name="T62" fmla="*/ 1359 w 824229"/>
                <a:gd name="T63" fmla="*/ 377189 h 824229"/>
                <a:gd name="T64" fmla="*/ 0 w 824229"/>
                <a:gd name="T65" fmla="*/ 410887 h 824229"/>
                <a:gd name="T66" fmla="*/ 1359 w 824229"/>
                <a:gd name="T67" fmla="*/ 444587 h 824229"/>
                <a:gd name="T68" fmla="*/ 11939 w 824229"/>
                <a:gd name="T69" fmla="*/ 509632 h 824229"/>
                <a:gd name="T70" fmla="*/ 32293 w 824229"/>
                <a:gd name="T71" fmla="*/ 570831 h 824229"/>
                <a:gd name="T72" fmla="*/ 61560 w 824229"/>
                <a:gd name="T73" fmla="*/ 627333 h 824229"/>
                <a:gd name="T74" fmla="*/ 98911 w 824229"/>
                <a:gd name="T75" fmla="*/ 678299 h 824229"/>
                <a:gd name="T76" fmla="*/ 143492 w 824229"/>
                <a:gd name="T77" fmla="*/ 722879 h 824229"/>
                <a:gd name="T78" fmla="*/ 194454 w 824229"/>
                <a:gd name="T79" fmla="*/ 760227 h 824229"/>
                <a:gd name="T80" fmla="*/ 250956 w 824229"/>
                <a:gd name="T81" fmla="*/ 789500 h 824229"/>
                <a:gd name="T82" fmla="*/ 312156 w 824229"/>
                <a:gd name="T83" fmla="*/ 809848 h 824229"/>
                <a:gd name="T84" fmla="*/ 377200 w 824229"/>
                <a:gd name="T85" fmla="*/ 820428 h 824229"/>
                <a:gd name="T86" fmla="*/ 410900 w 824229"/>
                <a:gd name="T87" fmla="*/ 82179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29"/>
                <a:gd name="T133" fmla="*/ 0 h 824229"/>
                <a:gd name="T134" fmla="*/ 824229 w 824229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29" h="824229">
                  <a:moveTo>
                    <a:pt x="411848" y="823683"/>
                  </a:moveTo>
                  <a:lnTo>
                    <a:pt x="478652" y="818293"/>
                  </a:lnTo>
                  <a:lnTo>
                    <a:pt x="542024" y="802687"/>
                  </a:lnTo>
                  <a:lnTo>
                    <a:pt x="601116" y="777714"/>
                  </a:lnTo>
                  <a:lnTo>
                    <a:pt x="655080" y="744220"/>
                  </a:lnTo>
                  <a:lnTo>
                    <a:pt x="703068" y="703056"/>
                  </a:lnTo>
                  <a:lnTo>
                    <a:pt x="744233" y="655067"/>
                  </a:lnTo>
                  <a:lnTo>
                    <a:pt x="777726" y="601103"/>
                  </a:lnTo>
                  <a:lnTo>
                    <a:pt x="802700" y="542011"/>
                  </a:lnTo>
                  <a:lnTo>
                    <a:pt x="818306" y="478639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lnTo>
                    <a:pt x="378070" y="1365"/>
                  </a:lnTo>
                  <a:lnTo>
                    <a:pt x="312876" y="11969"/>
                  </a:lnTo>
                  <a:lnTo>
                    <a:pt x="251538" y="32364"/>
                  </a:lnTo>
                  <a:lnTo>
                    <a:pt x="194904" y="61703"/>
                  </a:lnTo>
                  <a:lnTo>
                    <a:pt x="143822" y="99138"/>
                  </a:lnTo>
                  <a:lnTo>
                    <a:pt x="99139" y="143819"/>
                  </a:lnTo>
                  <a:lnTo>
                    <a:pt x="61704" y="194900"/>
                  </a:lnTo>
                  <a:lnTo>
                    <a:pt x="32365" y="251533"/>
                  </a:lnTo>
                  <a:lnTo>
                    <a:pt x="11969" y="312868"/>
                  </a:lnTo>
                  <a:lnTo>
                    <a:pt x="1365" y="378059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94" name="object 8"/>
            <p:cNvSpPr>
              <a:spLocks noChangeArrowheads="1"/>
            </p:cNvSpPr>
            <p:nvPr/>
          </p:nvSpPr>
          <p:spPr bwMode="auto">
            <a:xfrm>
              <a:off x="6138864" y="3132138"/>
              <a:ext cx="709612" cy="709612"/>
            </a:xfrm>
            <a:custGeom>
              <a:avLst/>
              <a:gdLst>
                <a:gd name="T0" fmla="*/ 357083 w 708659"/>
                <a:gd name="T1" fmla="*/ 0 h 708660"/>
                <a:gd name="T2" fmla="*/ 299162 w 708659"/>
                <a:gd name="T3" fmla="*/ 4672 h 708660"/>
                <a:gd name="T4" fmla="*/ 244217 w 708659"/>
                <a:gd name="T5" fmla="*/ 18203 h 708660"/>
                <a:gd name="T6" fmla="*/ 192980 w 708659"/>
                <a:gd name="T7" fmla="*/ 39856 h 708660"/>
                <a:gd name="T8" fmla="*/ 146193 w 708659"/>
                <a:gd name="T9" fmla="*/ 68897 h 708660"/>
                <a:gd name="T10" fmla="*/ 104586 w 708659"/>
                <a:gd name="T11" fmla="*/ 104590 h 708660"/>
                <a:gd name="T12" fmla="*/ 68895 w 708659"/>
                <a:gd name="T13" fmla="*/ 146197 h 708660"/>
                <a:gd name="T14" fmla="*/ 39855 w 708659"/>
                <a:gd name="T15" fmla="*/ 192986 h 708660"/>
                <a:gd name="T16" fmla="*/ 18201 w 708659"/>
                <a:gd name="T17" fmla="*/ 244218 h 708660"/>
                <a:gd name="T18" fmla="*/ 4672 w 708659"/>
                <a:gd name="T19" fmla="*/ 299162 h 708660"/>
                <a:gd name="T20" fmla="*/ 0 w 708659"/>
                <a:gd name="T21" fmla="*/ 357079 h 708660"/>
                <a:gd name="T22" fmla="*/ 1186 w 708659"/>
                <a:gd name="T23" fmla="*/ 386367 h 708660"/>
                <a:gd name="T24" fmla="*/ 10378 w 708659"/>
                <a:gd name="T25" fmla="*/ 442891 h 708660"/>
                <a:gd name="T26" fmla="*/ 28061 w 708659"/>
                <a:gd name="T27" fmla="*/ 496073 h 708660"/>
                <a:gd name="T28" fmla="*/ 53498 w 708659"/>
                <a:gd name="T29" fmla="*/ 545174 h 708660"/>
                <a:gd name="T30" fmla="*/ 85955 w 708659"/>
                <a:gd name="T31" fmla="*/ 589467 h 708660"/>
                <a:gd name="T32" fmla="*/ 124695 w 708659"/>
                <a:gd name="T33" fmla="*/ 628206 h 708660"/>
                <a:gd name="T34" fmla="*/ 168985 w 708659"/>
                <a:gd name="T35" fmla="*/ 660662 h 708660"/>
                <a:gd name="T36" fmla="*/ 218088 w 708659"/>
                <a:gd name="T37" fmla="*/ 686099 h 708660"/>
                <a:gd name="T38" fmla="*/ 271270 w 708659"/>
                <a:gd name="T39" fmla="*/ 703783 h 708660"/>
                <a:gd name="T40" fmla="*/ 327796 w 708659"/>
                <a:gd name="T41" fmla="*/ 712977 h 708660"/>
                <a:gd name="T42" fmla="*/ 357083 w 708659"/>
                <a:gd name="T43" fmla="*/ 714161 h 708660"/>
                <a:gd name="T44" fmla="*/ 386369 w 708659"/>
                <a:gd name="T45" fmla="*/ 712977 h 708660"/>
                <a:gd name="T46" fmla="*/ 442895 w 708659"/>
                <a:gd name="T47" fmla="*/ 703783 h 708660"/>
                <a:gd name="T48" fmla="*/ 496077 w 708659"/>
                <a:gd name="T49" fmla="*/ 686099 h 708660"/>
                <a:gd name="T50" fmla="*/ 545179 w 708659"/>
                <a:gd name="T51" fmla="*/ 660662 h 708660"/>
                <a:gd name="T52" fmla="*/ 589470 w 708659"/>
                <a:gd name="T53" fmla="*/ 628206 h 708660"/>
                <a:gd name="T54" fmla="*/ 628211 w 708659"/>
                <a:gd name="T55" fmla="*/ 589467 h 708660"/>
                <a:gd name="T56" fmla="*/ 660668 w 708659"/>
                <a:gd name="T57" fmla="*/ 545174 h 708660"/>
                <a:gd name="T58" fmla="*/ 686104 w 708659"/>
                <a:gd name="T59" fmla="*/ 496073 h 708660"/>
                <a:gd name="T60" fmla="*/ 703789 w 708659"/>
                <a:gd name="T61" fmla="*/ 442891 h 708660"/>
                <a:gd name="T62" fmla="*/ 712983 w 708659"/>
                <a:gd name="T63" fmla="*/ 386367 h 708660"/>
                <a:gd name="T64" fmla="*/ 714167 w 708659"/>
                <a:gd name="T65" fmla="*/ 357079 h 708660"/>
                <a:gd name="T66" fmla="*/ 712983 w 708659"/>
                <a:gd name="T67" fmla="*/ 327795 h 708660"/>
                <a:gd name="T68" fmla="*/ 703789 w 708659"/>
                <a:gd name="T69" fmla="*/ 271271 h 708660"/>
                <a:gd name="T70" fmla="*/ 686104 w 708659"/>
                <a:gd name="T71" fmla="*/ 218093 h 708660"/>
                <a:gd name="T72" fmla="*/ 660668 w 708659"/>
                <a:gd name="T73" fmla="*/ 168989 h 708660"/>
                <a:gd name="T74" fmla="*/ 628211 w 708659"/>
                <a:gd name="T75" fmla="*/ 124699 h 708660"/>
                <a:gd name="T76" fmla="*/ 589470 w 708659"/>
                <a:gd name="T77" fmla="*/ 85959 h 708660"/>
                <a:gd name="T78" fmla="*/ 545179 w 708659"/>
                <a:gd name="T79" fmla="*/ 53500 h 708660"/>
                <a:gd name="T80" fmla="*/ 496077 w 708659"/>
                <a:gd name="T81" fmla="*/ 28062 h 708660"/>
                <a:gd name="T82" fmla="*/ 442895 w 708659"/>
                <a:gd name="T83" fmla="*/ 10379 h 708660"/>
                <a:gd name="T84" fmla="*/ 386369 w 708659"/>
                <a:gd name="T85" fmla="*/ 1186 h 708660"/>
                <a:gd name="T86" fmla="*/ 357083 w 708659"/>
                <a:gd name="T87" fmla="*/ 0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59"/>
                <a:gd name="T133" fmla="*/ 0 h 708660"/>
                <a:gd name="T134" fmla="*/ 708659 w 708659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59" h="708660">
                  <a:moveTo>
                    <a:pt x="354215" y="0"/>
                  </a:moveTo>
                  <a:lnTo>
                    <a:pt x="296759" y="4636"/>
                  </a:lnTo>
                  <a:lnTo>
                    <a:pt x="242255" y="18059"/>
                  </a:lnTo>
                  <a:lnTo>
                    <a:pt x="191431" y="39538"/>
                  </a:lnTo>
                  <a:lnTo>
                    <a:pt x="145019" y="68345"/>
                  </a:lnTo>
                  <a:lnTo>
                    <a:pt x="103746" y="103751"/>
                  </a:lnTo>
                  <a:lnTo>
                    <a:pt x="68342" y="145024"/>
                  </a:lnTo>
                  <a:lnTo>
                    <a:pt x="39536" y="191437"/>
                  </a:lnTo>
                  <a:lnTo>
                    <a:pt x="18057" y="242259"/>
                  </a:lnTo>
                  <a:lnTo>
                    <a:pt x="4636" y="296762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lnTo>
                    <a:pt x="383267" y="707257"/>
                  </a:lnTo>
                  <a:lnTo>
                    <a:pt x="439338" y="698137"/>
                  </a:lnTo>
                  <a:lnTo>
                    <a:pt x="492093" y="680595"/>
                  </a:lnTo>
                  <a:lnTo>
                    <a:pt x="540802" y="655362"/>
                  </a:lnTo>
                  <a:lnTo>
                    <a:pt x="584736" y="623166"/>
                  </a:lnTo>
                  <a:lnTo>
                    <a:pt x="623166" y="584736"/>
                  </a:lnTo>
                  <a:lnTo>
                    <a:pt x="655362" y="540802"/>
                  </a:lnTo>
                  <a:lnTo>
                    <a:pt x="680595" y="492093"/>
                  </a:lnTo>
                  <a:lnTo>
                    <a:pt x="698137" y="439338"/>
                  </a:lnTo>
                  <a:lnTo>
                    <a:pt x="707257" y="383267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95" name="object 9"/>
            <p:cNvSpPr>
              <a:spLocks noChangeArrowheads="1"/>
            </p:cNvSpPr>
            <p:nvPr/>
          </p:nvSpPr>
          <p:spPr bwMode="auto">
            <a:xfrm>
              <a:off x="6138864" y="3132138"/>
              <a:ext cx="709612" cy="708025"/>
            </a:xfrm>
            <a:prstGeom prst="rect">
              <a:avLst/>
            </a:prstGeom>
            <a:blipFill dpi="0"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96" name="object 10"/>
            <p:cNvSpPr>
              <a:spLocks noChangeArrowheads="1"/>
            </p:cNvSpPr>
            <p:nvPr/>
          </p:nvSpPr>
          <p:spPr bwMode="auto">
            <a:xfrm>
              <a:off x="6138864" y="3132138"/>
              <a:ext cx="709612" cy="709612"/>
            </a:xfrm>
            <a:custGeom>
              <a:avLst/>
              <a:gdLst>
                <a:gd name="T0" fmla="*/ 357083 w 708659"/>
                <a:gd name="T1" fmla="*/ 714161 h 708660"/>
                <a:gd name="T2" fmla="*/ 415005 w 708659"/>
                <a:gd name="T3" fmla="*/ 709487 h 708660"/>
                <a:gd name="T4" fmla="*/ 469950 w 708659"/>
                <a:gd name="T5" fmla="*/ 695956 h 708660"/>
                <a:gd name="T6" fmla="*/ 521184 w 708659"/>
                <a:gd name="T7" fmla="*/ 674305 h 708660"/>
                <a:gd name="T8" fmla="*/ 567975 w 708659"/>
                <a:gd name="T9" fmla="*/ 645266 h 708660"/>
                <a:gd name="T10" fmla="*/ 609580 w 708659"/>
                <a:gd name="T11" fmla="*/ 609576 h 708660"/>
                <a:gd name="T12" fmla="*/ 645271 w 708659"/>
                <a:gd name="T13" fmla="*/ 567969 h 708660"/>
                <a:gd name="T14" fmla="*/ 674311 w 708659"/>
                <a:gd name="T15" fmla="*/ 521179 h 708660"/>
                <a:gd name="T16" fmla="*/ 695962 w 708659"/>
                <a:gd name="T17" fmla="*/ 469946 h 708660"/>
                <a:gd name="T18" fmla="*/ 709493 w 708659"/>
                <a:gd name="T19" fmla="*/ 415002 h 708660"/>
                <a:gd name="T20" fmla="*/ 714167 w 708659"/>
                <a:gd name="T21" fmla="*/ 357079 h 708660"/>
                <a:gd name="T22" fmla="*/ 712983 w 708659"/>
                <a:gd name="T23" fmla="*/ 327795 h 708660"/>
                <a:gd name="T24" fmla="*/ 703789 w 708659"/>
                <a:gd name="T25" fmla="*/ 271271 h 708660"/>
                <a:gd name="T26" fmla="*/ 686104 w 708659"/>
                <a:gd name="T27" fmla="*/ 218093 h 708660"/>
                <a:gd name="T28" fmla="*/ 660668 w 708659"/>
                <a:gd name="T29" fmla="*/ 168989 h 708660"/>
                <a:gd name="T30" fmla="*/ 628211 w 708659"/>
                <a:gd name="T31" fmla="*/ 124699 h 708660"/>
                <a:gd name="T32" fmla="*/ 589470 w 708659"/>
                <a:gd name="T33" fmla="*/ 85959 h 708660"/>
                <a:gd name="T34" fmla="*/ 545179 w 708659"/>
                <a:gd name="T35" fmla="*/ 53500 h 708660"/>
                <a:gd name="T36" fmla="*/ 496077 w 708659"/>
                <a:gd name="T37" fmla="*/ 28062 h 708660"/>
                <a:gd name="T38" fmla="*/ 442895 w 708659"/>
                <a:gd name="T39" fmla="*/ 10379 h 708660"/>
                <a:gd name="T40" fmla="*/ 386369 w 708659"/>
                <a:gd name="T41" fmla="*/ 1186 h 708660"/>
                <a:gd name="T42" fmla="*/ 357083 w 708659"/>
                <a:gd name="T43" fmla="*/ 0 h 708660"/>
                <a:gd name="T44" fmla="*/ 327796 w 708659"/>
                <a:gd name="T45" fmla="*/ 1186 h 708660"/>
                <a:gd name="T46" fmla="*/ 271270 w 708659"/>
                <a:gd name="T47" fmla="*/ 10379 h 708660"/>
                <a:gd name="T48" fmla="*/ 218088 w 708659"/>
                <a:gd name="T49" fmla="*/ 28062 h 708660"/>
                <a:gd name="T50" fmla="*/ 168985 w 708659"/>
                <a:gd name="T51" fmla="*/ 53500 h 708660"/>
                <a:gd name="T52" fmla="*/ 124695 w 708659"/>
                <a:gd name="T53" fmla="*/ 85959 h 708660"/>
                <a:gd name="T54" fmla="*/ 85955 w 708659"/>
                <a:gd name="T55" fmla="*/ 124699 h 708660"/>
                <a:gd name="T56" fmla="*/ 53498 w 708659"/>
                <a:gd name="T57" fmla="*/ 168989 h 708660"/>
                <a:gd name="T58" fmla="*/ 28061 w 708659"/>
                <a:gd name="T59" fmla="*/ 218093 h 708660"/>
                <a:gd name="T60" fmla="*/ 10378 w 708659"/>
                <a:gd name="T61" fmla="*/ 271271 h 708660"/>
                <a:gd name="T62" fmla="*/ 1186 w 708659"/>
                <a:gd name="T63" fmla="*/ 327795 h 708660"/>
                <a:gd name="T64" fmla="*/ 0 w 708659"/>
                <a:gd name="T65" fmla="*/ 357079 h 708660"/>
                <a:gd name="T66" fmla="*/ 1186 w 708659"/>
                <a:gd name="T67" fmla="*/ 386367 h 708660"/>
                <a:gd name="T68" fmla="*/ 10378 w 708659"/>
                <a:gd name="T69" fmla="*/ 442891 h 708660"/>
                <a:gd name="T70" fmla="*/ 28061 w 708659"/>
                <a:gd name="T71" fmla="*/ 496073 h 708660"/>
                <a:gd name="T72" fmla="*/ 53498 w 708659"/>
                <a:gd name="T73" fmla="*/ 545174 h 708660"/>
                <a:gd name="T74" fmla="*/ 85955 w 708659"/>
                <a:gd name="T75" fmla="*/ 589467 h 708660"/>
                <a:gd name="T76" fmla="*/ 124695 w 708659"/>
                <a:gd name="T77" fmla="*/ 628206 h 708660"/>
                <a:gd name="T78" fmla="*/ 168985 w 708659"/>
                <a:gd name="T79" fmla="*/ 660662 h 708660"/>
                <a:gd name="T80" fmla="*/ 218088 w 708659"/>
                <a:gd name="T81" fmla="*/ 686099 h 708660"/>
                <a:gd name="T82" fmla="*/ 271270 w 708659"/>
                <a:gd name="T83" fmla="*/ 703783 h 708660"/>
                <a:gd name="T84" fmla="*/ 327796 w 708659"/>
                <a:gd name="T85" fmla="*/ 712977 h 708660"/>
                <a:gd name="T86" fmla="*/ 357083 w 708659"/>
                <a:gd name="T87" fmla="*/ 714161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59"/>
                <a:gd name="T133" fmla="*/ 0 h 708660"/>
                <a:gd name="T134" fmla="*/ 708659 w 708659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59" h="708660">
                  <a:moveTo>
                    <a:pt x="354215" y="708431"/>
                  </a:moveTo>
                  <a:lnTo>
                    <a:pt x="411672" y="703795"/>
                  </a:lnTo>
                  <a:lnTo>
                    <a:pt x="466176" y="690373"/>
                  </a:lnTo>
                  <a:lnTo>
                    <a:pt x="516999" y="668895"/>
                  </a:lnTo>
                  <a:lnTo>
                    <a:pt x="563412" y="640089"/>
                  </a:lnTo>
                  <a:lnTo>
                    <a:pt x="604685" y="604685"/>
                  </a:lnTo>
                  <a:lnTo>
                    <a:pt x="640089" y="563412"/>
                  </a:lnTo>
                  <a:lnTo>
                    <a:pt x="668895" y="516999"/>
                  </a:lnTo>
                  <a:lnTo>
                    <a:pt x="690373" y="466176"/>
                  </a:lnTo>
                  <a:lnTo>
                    <a:pt x="703795" y="411672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lnTo>
                    <a:pt x="325164" y="1174"/>
                  </a:lnTo>
                  <a:lnTo>
                    <a:pt x="269092" y="10295"/>
                  </a:lnTo>
                  <a:lnTo>
                    <a:pt x="216337" y="27837"/>
                  </a:lnTo>
                  <a:lnTo>
                    <a:pt x="167628" y="53071"/>
                  </a:lnTo>
                  <a:lnTo>
                    <a:pt x="123694" y="85269"/>
                  </a:lnTo>
                  <a:lnTo>
                    <a:pt x="85265" y="123699"/>
                  </a:lnTo>
                  <a:lnTo>
                    <a:pt x="53068" y="167634"/>
                  </a:lnTo>
                  <a:lnTo>
                    <a:pt x="27835" y="216343"/>
                  </a:lnTo>
                  <a:lnTo>
                    <a:pt x="10294" y="269096"/>
                  </a:lnTo>
                  <a:lnTo>
                    <a:pt x="1174" y="325165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97" name="object 11"/>
            <p:cNvSpPr>
              <a:spLocks noChangeArrowheads="1"/>
            </p:cNvSpPr>
            <p:nvPr/>
          </p:nvSpPr>
          <p:spPr bwMode="auto">
            <a:xfrm>
              <a:off x="6456364" y="2493963"/>
              <a:ext cx="76200" cy="76200"/>
            </a:xfrm>
            <a:custGeom>
              <a:avLst/>
              <a:gdLst>
                <a:gd name="T0" fmla="*/ 44889 w 76200"/>
                <a:gd name="T1" fmla="*/ 0 h 76835"/>
                <a:gd name="T2" fmla="*/ 28301 w 76200"/>
                <a:gd name="T3" fmla="*/ 1672 h 76835"/>
                <a:gd name="T4" fmla="*/ 15085 w 76200"/>
                <a:gd name="T5" fmla="*/ 7119 h 76835"/>
                <a:gd name="T6" fmla="*/ 5549 w 76200"/>
                <a:gd name="T7" fmla="*/ 15608 h 76835"/>
                <a:gd name="T8" fmla="*/ 0 w 76200"/>
                <a:gd name="T9" fmla="*/ 26405 h 76835"/>
                <a:gd name="T10" fmla="*/ 1330 w 76200"/>
                <a:gd name="T11" fmla="*/ 42812 h 76835"/>
                <a:gd name="T12" fmla="*/ 6490 w 76200"/>
                <a:gd name="T13" fmla="*/ 55796 h 76835"/>
                <a:gd name="T14" fmla="*/ 14762 w 76200"/>
                <a:gd name="T15" fmla="*/ 65209 h 76835"/>
                <a:gd name="T16" fmla="*/ 25425 w 76200"/>
                <a:gd name="T17" fmla="*/ 70897 h 76835"/>
                <a:gd name="T18" fmla="*/ 37232 w 76200"/>
                <a:gd name="T19" fmla="*/ 72723 h 76835"/>
                <a:gd name="T20" fmla="*/ 51284 w 76200"/>
                <a:gd name="T21" fmla="*/ 70210 h 76835"/>
                <a:gd name="T22" fmla="*/ 63028 w 76200"/>
                <a:gd name="T23" fmla="*/ 63311 h 76835"/>
                <a:gd name="T24" fmla="*/ 71461 w 76200"/>
                <a:gd name="T25" fmla="*/ 52976 h 76835"/>
                <a:gd name="T26" fmla="*/ 75581 w 76200"/>
                <a:gd name="T27" fmla="*/ 40156 h 76835"/>
                <a:gd name="T28" fmla="*/ 73357 w 76200"/>
                <a:gd name="T29" fmla="*/ 25321 h 76835"/>
                <a:gd name="T30" fmla="*/ 66931 w 76200"/>
                <a:gd name="T31" fmla="*/ 13328 h 76835"/>
                <a:gd name="T32" fmla="*/ 57157 w 76200"/>
                <a:gd name="T33" fmla="*/ 4709 h 76835"/>
                <a:gd name="T34" fmla="*/ 44889 w 76200"/>
                <a:gd name="T35" fmla="*/ 0 h 7683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6200"/>
                <a:gd name="T55" fmla="*/ 0 h 76835"/>
                <a:gd name="T56" fmla="*/ 76200 w 76200"/>
                <a:gd name="T57" fmla="*/ 76835 h 7683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6200" h="76835">
                  <a:moveTo>
                    <a:pt x="44889" y="0"/>
                  </a:moveTo>
                  <a:lnTo>
                    <a:pt x="28301" y="1757"/>
                  </a:lnTo>
                  <a:lnTo>
                    <a:pt x="15085" y="7482"/>
                  </a:lnTo>
                  <a:lnTo>
                    <a:pt x="5549" y="16404"/>
                  </a:lnTo>
                  <a:lnTo>
                    <a:pt x="0" y="27753"/>
                  </a:lnTo>
                  <a:lnTo>
                    <a:pt x="1330" y="44999"/>
                  </a:lnTo>
                  <a:lnTo>
                    <a:pt x="6490" y="58646"/>
                  </a:lnTo>
                  <a:lnTo>
                    <a:pt x="14762" y="68537"/>
                  </a:lnTo>
                  <a:lnTo>
                    <a:pt x="25425" y="74518"/>
                  </a:lnTo>
                  <a:lnTo>
                    <a:pt x="37232" y="76435"/>
                  </a:lnTo>
                  <a:lnTo>
                    <a:pt x="51284" y="73795"/>
                  </a:lnTo>
                  <a:lnTo>
                    <a:pt x="63028" y="66543"/>
                  </a:lnTo>
                  <a:lnTo>
                    <a:pt x="71461" y="55680"/>
                  </a:lnTo>
                  <a:lnTo>
                    <a:pt x="75581" y="42206"/>
                  </a:lnTo>
                  <a:lnTo>
                    <a:pt x="73357" y="26614"/>
                  </a:lnTo>
                  <a:lnTo>
                    <a:pt x="66931" y="14009"/>
                  </a:lnTo>
                  <a:lnTo>
                    <a:pt x="57157" y="4950"/>
                  </a:lnTo>
                  <a:lnTo>
                    <a:pt x="44889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98" name="object 12"/>
            <p:cNvSpPr>
              <a:spLocks noChangeArrowheads="1"/>
            </p:cNvSpPr>
            <p:nvPr/>
          </p:nvSpPr>
          <p:spPr bwMode="auto">
            <a:xfrm>
              <a:off x="6456364" y="2493963"/>
              <a:ext cx="76200" cy="76200"/>
            </a:xfrm>
            <a:custGeom>
              <a:avLst/>
              <a:gdLst>
                <a:gd name="T0" fmla="*/ 37232 w 76200"/>
                <a:gd name="T1" fmla="*/ 72723 h 76835"/>
                <a:gd name="T2" fmla="*/ 51284 w 76200"/>
                <a:gd name="T3" fmla="*/ 70210 h 76835"/>
                <a:gd name="T4" fmla="*/ 63028 w 76200"/>
                <a:gd name="T5" fmla="*/ 63311 h 76835"/>
                <a:gd name="T6" fmla="*/ 71461 w 76200"/>
                <a:gd name="T7" fmla="*/ 52976 h 76835"/>
                <a:gd name="T8" fmla="*/ 75581 w 76200"/>
                <a:gd name="T9" fmla="*/ 40156 h 76835"/>
                <a:gd name="T10" fmla="*/ 73357 w 76200"/>
                <a:gd name="T11" fmla="*/ 25321 h 76835"/>
                <a:gd name="T12" fmla="*/ 66931 w 76200"/>
                <a:gd name="T13" fmla="*/ 13328 h 76835"/>
                <a:gd name="T14" fmla="*/ 57157 w 76200"/>
                <a:gd name="T15" fmla="*/ 4709 h 76835"/>
                <a:gd name="T16" fmla="*/ 44889 w 76200"/>
                <a:gd name="T17" fmla="*/ 0 h 76835"/>
                <a:gd name="T18" fmla="*/ 28301 w 76200"/>
                <a:gd name="T19" fmla="*/ 1672 h 76835"/>
                <a:gd name="T20" fmla="*/ 15085 w 76200"/>
                <a:gd name="T21" fmla="*/ 7119 h 76835"/>
                <a:gd name="T22" fmla="*/ 5549 w 76200"/>
                <a:gd name="T23" fmla="*/ 15608 h 76835"/>
                <a:gd name="T24" fmla="*/ 0 w 76200"/>
                <a:gd name="T25" fmla="*/ 26405 h 76835"/>
                <a:gd name="T26" fmla="*/ 1330 w 76200"/>
                <a:gd name="T27" fmla="*/ 42812 h 76835"/>
                <a:gd name="T28" fmla="*/ 6490 w 76200"/>
                <a:gd name="T29" fmla="*/ 55796 h 76835"/>
                <a:gd name="T30" fmla="*/ 14762 w 76200"/>
                <a:gd name="T31" fmla="*/ 65209 h 76835"/>
                <a:gd name="T32" fmla="*/ 25425 w 76200"/>
                <a:gd name="T33" fmla="*/ 70897 h 76835"/>
                <a:gd name="T34" fmla="*/ 37232 w 76200"/>
                <a:gd name="T35" fmla="*/ 72723 h 7683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6200"/>
                <a:gd name="T55" fmla="*/ 0 h 76835"/>
                <a:gd name="T56" fmla="*/ 76200 w 76200"/>
                <a:gd name="T57" fmla="*/ 76835 h 7683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6200" h="76835">
                  <a:moveTo>
                    <a:pt x="37232" y="76435"/>
                  </a:moveTo>
                  <a:lnTo>
                    <a:pt x="51284" y="73795"/>
                  </a:lnTo>
                  <a:lnTo>
                    <a:pt x="63028" y="66543"/>
                  </a:lnTo>
                  <a:lnTo>
                    <a:pt x="71461" y="55680"/>
                  </a:lnTo>
                  <a:lnTo>
                    <a:pt x="75581" y="42206"/>
                  </a:lnTo>
                  <a:lnTo>
                    <a:pt x="73357" y="26614"/>
                  </a:lnTo>
                  <a:lnTo>
                    <a:pt x="66931" y="14009"/>
                  </a:lnTo>
                  <a:lnTo>
                    <a:pt x="57157" y="4950"/>
                  </a:lnTo>
                  <a:lnTo>
                    <a:pt x="44889" y="0"/>
                  </a:lnTo>
                  <a:lnTo>
                    <a:pt x="28301" y="1757"/>
                  </a:lnTo>
                  <a:lnTo>
                    <a:pt x="15085" y="7482"/>
                  </a:lnTo>
                  <a:lnTo>
                    <a:pt x="5549" y="16404"/>
                  </a:lnTo>
                  <a:lnTo>
                    <a:pt x="0" y="27753"/>
                  </a:lnTo>
                  <a:lnTo>
                    <a:pt x="1330" y="44999"/>
                  </a:lnTo>
                  <a:lnTo>
                    <a:pt x="6490" y="58646"/>
                  </a:lnTo>
                  <a:lnTo>
                    <a:pt x="14762" y="68537"/>
                  </a:lnTo>
                  <a:lnTo>
                    <a:pt x="25425" y="74518"/>
                  </a:lnTo>
                  <a:lnTo>
                    <a:pt x="37232" y="76435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99" name="object 13"/>
            <p:cNvSpPr>
              <a:spLocks noChangeArrowheads="1"/>
            </p:cNvSpPr>
            <p:nvPr/>
          </p:nvSpPr>
          <p:spPr bwMode="auto">
            <a:xfrm>
              <a:off x="6467476" y="3097213"/>
              <a:ext cx="49213" cy="52387"/>
            </a:xfrm>
            <a:custGeom>
              <a:avLst/>
              <a:gdLst>
                <a:gd name="T0" fmla="*/ 36599 w 48895"/>
                <a:gd name="T1" fmla="*/ 0 h 51435"/>
                <a:gd name="T2" fmla="*/ 18619 w 48895"/>
                <a:gd name="T3" fmla="*/ 1404 h 51435"/>
                <a:gd name="T4" fmla="*/ 6444 w 48895"/>
                <a:gd name="T5" fmla="*/ 8298 h 51435"/>
                <a:gd name="T6" fmla="*/ 0 w 48895"/>
                <a:gd name="T7" fmla="*/ 19134 h 51435"/>
                <a:gd name="T8" fmla="*/ 2146 w 48895"/>
                <a:gd name="T9" fmla="*/ 37663 h 51435"/>
                <a:gd name="T10" fmla="*/ 9546 w 48895"/>
                <a:gd name="T11" fmla="*/ 50183 h 51435"/>
                <a:gd name="T12" fmla="*/ 20651 w 48895"/>
                <a:gd name="T13" fmla="*/ 56421 h 51435"/>
                <a:gd name="T14" fmla="*/ 26498 w 48895"/>
                <a:gd name="T15" fmla="*/ 57106 h 51435"/>
                <a:gd name="T16" fmla="*/ 40609 w 48895"/>
                <a:gd name="T17" fmla="*/ 52954 h 51435"/>
                <a:gd name="T18" fmla="*/ 50555 w 48895"/>
                <a:gd name="T19" fmla="*/ 42059 h 51435"/>
                <a:gd name="T20" fmla="*/ 50401 w 48895"/>
                <a:gd name="T21" fmla="*/ 21703 h 51435"/>
                <a:gd name="T22" fmla="*/ 45315 w 48895"/>
                <a:gd name="T23" fmla="*/ 7832 h 51435"/>
                <a:gd name="T24" fmla="*/ 36599 w 48895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700" name="object 14"/>
            <p:cNvSpPr>
              <a:spLocks noChangeArrowheads="1"/>
            </p:cNvSpPr>
            <p:nvPr/>
          </p:nvSpPr>
          <p:spPr bwMode="auto">
            <a:xfrm>
              <a:off x="6467476" y="3097213"/>
              <a:ext cx="49213" cy="52387"/>
            </a:xfrm>
            <a:custGeom>
              <a:avLst/>
              <a:gdLst>
                <a:gd name="T0" fmla="*/ 26498 w 48895"/>
                <a:gd name="T1" fmla="*/ 57106 h 51435"/>
                <a:gd name="T2" fmla="*/ 40609 w 48895"/>
                <a:gd name="T3" fmla="*/ 52954 h 51435"/>
                <a:gd name="T4" fmla="*/ 50555 w 48895"/>
                <a:gd name="T5" fmla="*/ 42059 h 51435"/>
                <a:gd name="T6" fmla="*/ 50401 w 48895"/>
                <a:gd name="T7" fmla="*/ 21703 h 51435"/>
                <a:gd name="T8" fmla="*/ 45315 w 48895"/>
                <a:gd name="T9" fmla="*/ 7832 h 51435"/>
                <a:gd name="T10" fmla="*/ 36599 w 48895"/>
                <a:gd name="T11" fmla="*/ 0 h 51435"/>
                <a:gd name="T12" fmla="*/ 18619 w 48895"/>
                <a:gd name="T13" fmla="*/ 1404 h 51435"/>
                <a:gd name="T14" fmla="*/ 6444 w 48895"/>
                <a:gd name="T15" fmla="*/ 8298 h 51435"/>
                <a:gd name="T16" fmla="*/ 0 w 48895"/>
                <a:gd name="T17" fmla="*/ 19134 h 51435"/>
                <a:gd name="T18" fmla="*/ 2146 w 48895"/>
                <a:gd name="T19" fmla="*/ 37663 h 51435"/>
                <a:gd name="T20" fmla="*/ 9546 w 48895"/>
                <a:gd name="T21" fmla="*/ 50183 h 51435"/>
                <a:gd name="T22" fmla="*/ 20651 w 48895"/>
                <a:gd name="T23" fmla="*/ 56421 h 51435"/>
                <a:gd name="T24" fmla="*/ 26498 w 48895"/>
                <a:gd name="T25" fmla="*/ 57106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701" name="object 15"/>
            <p:cNvSpPr>
              <a:spLocks noChangeArrowheads="1"/>
            </p:cNvSpPr>
            <p:nvPr/>
          </p:nvSpPr>
          <p:spPr bwMode="auto">
            <a:xfrm>
              <a:off x="6467476" y="4064000"/>
              <a:ext cx="49213" cy="52388"/>
            </a:xfrm>
            <a:custGeom>
              <a:avLst/>
              <a:gdLst>
                <a:gd name="T0" fmla="*/ 36599 w 48895"/>
                <a:gd name="T1" fmla="*/ 0 h 51435"/>
                <a:gd name="T2" fmla="*/ 18619 w 48895"/>
                <a:gd name="T3" fmla="*/ 1404 h 51435"/>
                <a:gd name="T4" fmla="*/ 6444 w 48895"/>
                <a:gd name="T5" fmla="*/ 8299 h 51435"/>
                <a:gd name="T6" fmla="*/ 0 w 48895"/>
                <a:gd name="T7" fmla="*/ 19137 h 51435"/>
                <a:gd name="T8" fmla="*/ 2146 w 48895"/>
                <a:gd name="T9" fmla="*/ 37669 h 51435"/>
                <a:gd name="T10" fmla="*/ 9546 w 48895"/>
                <a:gd name="T11" fmla="*/ 50189 h 51435"/>
                <a:gd name="T12" fmla="*/ 20651 w 48895"/>
                <a:gd name="T13" fmla="*/ 56427 h 51435"/>
                <a:gd name="T14" fmla="*/ 26498 w 48895"/>
                <a:gd name="T15" fmla="*/ 57112 h 51435"/>
                <a:gd name="T16" fmla="*/ 40609 w 48895"/>
                <a:gd name="T17" fmla="*/ 52960 h 51435"/>
                <a:gd name="T18" fmla="*/ 50555 w 48895"/>
                <a:gd name="T19" fmla="*/ 42065 h 51435"/>
                <a:gd name="T20" fmla="*/ 50401 w 48895"/>
                <a:gd name="T21" fmla="*/ 21707 h 51435"/>
                <a:gd name="T22" fmla="*/ 45315 w 48895"/>
                <a:gd name="T23" fmla="*/ 7832 h 51435"/>
                <a:gd name="T24" fmla="*/ 36599 w 48895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702" name="object 16"/>
            <p:cNvSpPr>
              <a:spLocks noChangeArrowheads="1"/>
            </p:cNvSpPr>
            <p:nvPr/>
          </p:nvSpPr>
          <p:spPr bwMode="auto">
            <a:xfrm>
              <a:off x="6467476" y="4064000"/>
              <a:ext cx="49213" cy="52388"/>
            </a:xfrm>
            <a:custGeom>
              <a:avLst/>
              <a:gdLst>
                <a:gd name="T0" fmla="*/ 26498 w 48895"/>
                <a:gd name="T1" fmla="*/ 57112 h 51435"/>
                <a:gd name="T2" fmla="*/ 40609 w 48895"/>
                <a:gd name="T3" fmla="*/ 52960 h 51435"/>
                <a:gd name="T4" fmla="*/ 50555 w 48895"/>
                <a:gd name="T5" fmla="*/ 42065 h 51435"/>
                <a:gd name="T6" fmla="*/ 50401 w 48895"/>
                <a:gd name="T7" fmla="*/ 21707 h 51435"/>
                <a:gd name="T8" fmla="*/ 45315 w 48895"/>
                <a:gd name="T9" fmla="*/ 7832 h 51435"/>
                <a:gd name="T10" fmla="*/ 36599 w 48895"/>
                <a:gd name="T11" fmla="*/ 0 h 51435"/>
                <a:gd name="T12" fmla="*/ 18619 w 48895"/>
                <a:gd name="T13" fmla="*/ 1404 h 51435"/>
                <a:gd name="T14" fmla="*/ 6444 w 48895"/>
                <a:gd name="T15" fmla="*/ 8299 h 51435"/>
                <a:gd name="T16" fmla="*/ 0 w 48895"/>
                <a:gd name="T17" fmla="*/ 19137 h 51435"/>
                <a:gd name="T18" fmla="*/ 2146 w 48895"/>
                <a:gd name="T19" fmla="*/ 37669 h 51435"/>
                <a:gd name="T20" fmla="*/ 9546 w 48895"/>
                <a:gd name="T21" fmla="*/ 50189 h 51435"/>
                <a:gd name="T22" fmla="*/ 20651 w 48895"/>
                <a:gd name="T23" fmla="*/ 56427 h 51435"/>
                <a:gd name="T24" fmla="*/ 26498 w 48895"/>
                <a:gd name="T25" fmla="*/ 57112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grpSp>
        <p:nvGrpSpPr>
          <p:cNvPr id="281604" name="Gruppieren 93"/>
          <p:cNvGrpSpPr>
            <a:grpSpLocks/>
          </p:cNvGrpSpPr>
          <p:nvPr/>
        </p:nvGrpSpPr>
        <p:grpSpPr bwMode="auto">
          <a:xfrm>
            <a:off x="7680325" y="2097088"/>
            <a:ext cx="1206500" cy="2960687"/>
            <a:chOff x="7775575" y="1962150"/>
            <a:chExt cx="1206500" cy="2960688"/>
          </a:xfrm>
        </p:grpSpPr>
        <p:sp>
          <p:nvSpPr>
            <p:cNvPr id="281675" name="object 17"/>
            <p:cNvSpPr>
              <a:spLocks noChangeArrowheads="1"/>
            </p:cNvSpPr>
            <p:nvPr/>
          </p:nvSpPr>
          <p:spPr bwMode="auto">
            <a:xfrm>
              <a:off x="7775575" y="1962150"/>
              <a:ext cx="1206500" cy="1193800"/>
            </a:xfrm>
            <a:prstGeom prst="rect">
              <a:avLst/>
            </a:prstGeom>
            <a:blipFill dpi="0"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76" name="object 18"/>
            <p:cNvSpPr>
              <a:spLocks noChangeArrowheads="1"/>
            </p:cNvSpPr>
            <p:nvPr/>
          </p:nvSpPr>
          <p:spPr bwMode="auto">
            <a:xfrm>
              <a:off x="8255000" y="2530475"/>
              <a:ext cx="0" cy="2273300"/>
            </a:xfrm>
            <a:custGeom>
              <a:avLst/>
              <a:gdLst>
                <a:gd name="T0" fmla="*/ 0 h 2273300"/>
                <a:gd name="T1" fmla="*/ 2272766 h 2273300"/>
                <a:gd name="T2" fmla="*/ 0 60000 65536"/>
                <a:gd name="T3" fmla="*/ 0 60000 65536"/>
                <a:gd name="T4" fmla="*/ 0 h 2273300"/>
                <a:gd name="T5" fmla="*/ 2273300 h 2273300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T4" r="0" b="T5"/>
              <a:pathLst>
                <a:path h="2273300">
                  <a:moveTo>
                    <a:pt x="0" y="0"/>
                  </a:moveTo>
                  <a:lnTo>
                    <a:pt x="0" y="2272766"/>
                  </a:lnTo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77" name="object 19"/>
            <p:cNvSpPr>
              <a:spLocks noChangeArrowheads="1"/>
            </p:cNvSpPr>
            <p:nvPr/>
          </p:nvSpPr>
          <p:spPr bwMode="auto">
            <a:xfrm>
              <a:off x="7842250" y="4098925"/>
              <a:ext cx="825500" cy="823913"/>
            </a:xfrm>
            <a:custGeom>
              <a:avLst/>
              <a:gdLst>
                <a:gd name="T0" fmla="*/ 415673 w 824229"/>
                <a:gd name="T1" fmla="*/ 0 h 824229"/>
                <a:gd name="T2" fmla="*/ 348249 w 824229"/>
                <a:gd name="T3" fmla="*/ 5378 h 824229"/>
                <a:gd name="T4" fmla="*/ 284288 w 824229"/>
                <a:gd name="T5" fmla="*/ 20948 h 824229"/>
                <a:gd name="T6" fmla="*/ 224647 w 824229"/>
                <a:gd name="T7" fmla="*/ 45861 h 824229"/>
                <a:gd name="T8" fmla="*/ 170182 w 824229"/>
                <a:gd name="T9" fmla="*/ 79282 h 824229"/>
                <a:gd name="T10" fmla="*/ 121747 w 824229"/>
                <a:gd name="T11" fmla="*/ 120350 h 824229"/>
                <a:gd name="T12" fmla="*/ 80200 w 824229"/>
                <a:gd name="T13" fmla="*/ 168223 h 824229"/>
                <a:gd name="T14" fmla="*/ 46395 w 824229"/>
                <a:gd name="T15" fmla="*/ 222066 h 824229"/>
                <a:gd name="T16" fmla="*/ 21191 w 824229"/>
                <a:gd name="T17" fmla="*/ 281018 h 824229"/>
                <a:gd name="T18" fmla="*/ 5438 w 824229"/>
                <a:gd name="T19" fmla="*/ 344243 h 824229"/>
                <a:gd name="T20" fmla="*/ 0 w 824229"/>
                <a:gd name="T21" fmla="*/ 410887 h 824229"/>
                <a:gd name="T22" fmla="*/ 1377 w 824229"/>
                <a:gd name="T23" fmla="*/ 444587 h 824229"/>
                <a:gd name="T24" fmla="*/ 12081 w 824229"/>
                <a:gd name="T25" fmla="*/ 509632 h 824229"/>
                <a:gd name="T26" fmla="*/ 32665 w 824229"/>
                <a:gd name="T27" fmla="*/ 570831 h 824229"/>
                <a:gd name="T28" fmla="*/ 62277 w 824229"/>
                <a:gd name="T29" fmla="*/ 627333 h 824229"/>
                <a:gd name="T30" fmla="*/ 100060 w 824229"/>
                <a:gd name="T31" fmla="*/ 678299 h 824229"/>
                <a:gd name="T32" fmla="*/ 145158 w 824229"/>
                <a:gd name="T33" fmla="*/ 722879 h 824229"/>
                <a:gd name="T34" fmla="*/ 196714 w 824229"/>
                <a:gd name="T35" fmla="*/ 760227 h 824229"/>
                <a:gd name="T36" fmla="*/ 253874 w 824229"/>
                <a:gd name="T37" fmla="*/ 789500 h 824229"/>
                <a:gd name="T38" fmla="*/ 315781 w 824229"/>
                <a:gd name="T39" fmla="*/ 809848 h 824229"/>
                <a:gd name="T40" fmla="*/ 381583 w 824229"/>
                <a:gd name="T41" fmla="*/ 820428 h 824229"/>
                <a:gd name="T42" fmla="*/ 415673 w 824229"/>
                <a:gd name="T43" fmla="*/ 821790 h 824229"/>
                <a:gd name="T44" fmla="*/ 449763 w 824229"/>
                <a:gd name="T45" fmla="*/ 820428 h 824229"/>
                <a:gd name="T46" fmla="*/ 515565 w 824229"/>
                <a:gd name="T47" fmla="*/ 809848 h 824229"/>
                <a:gd name="T48" fmla="*/ 577472 w 824229"/>
                <a:gd name="T49" fmla="*/ 789500 h 824229"/>
                <a:gd name="T50" fmla="*/ 634633 w 824229"/>
                <a:gd name="T51" fmla="*/ 760227 h 824229"/>
                <a:gd name="T52" fmla="*/ 686189 w 824229"/>
                <a:gd name="T53" fmla="*/ 722879 h 824229"/>
                <a:gd name="T54" fmla="*/ 731287 w 824229"/>
                <a:gd name="T55" fmla="*/ 678299 h 824229"/>
                <a:gd name="T56" fmla="*/ 769069 w 824229"/>
                <a:gd name="T57" fmla="*/ 627333 h 824229"/>
                <a:gd name="T58" fmla="*/ 798681 w 824229"/>
                <a:gd name="T59" fmla="*/ 570831 h 824229"/>
                <a:gd name="T60" fmla="*/ 819267 w 824229"/>
                <a:gd name="T61" fmla="*/ 509632 h 824229"/>
                <a:gd name="T62" fmla="*/ 829969 w 824229"/>
                <a:gd name="T63" fmla="*/ 444587 h 824229"/>
                <a:gd name="T64" fmla="*/ 831346 w 824229"/>
                <a:gd name="T65" fmla="*/ 410887 h 824229"/>
                <a:gd name="T66" fmla="*/ 829969 w 824229"/>
                <a:gd name="T67" fmla="*/ 377189 h 824229"/>
                <a:gd name="T68" fmla="*/ 819267 w 824229"/>
                <a:gd name="T69" fmla="*/ 312148 h 824229"/>
                <a:gd name="T70" fmla="*/ 798681 w 824229"/>
                <a:gd name="T71" fmla="*/ 250957 h 824229"/>
                <a:gd name="T72" fmla="*/ 769069 w 824229"/>
                <a:gd name="T73" fmla="*/ 194450 h 824229"/>
                <a:gd name="T74" fmla="*/ 731287 w 824229"/>
                <a:gd name="T75" fmla="*/ 143489 h 824229"/>
                <a:gd name="T76" fmla="*/ 686189 w 824229"/>
                <a:gd name="T77" fmla="*/ 98910 h 824229"/>
                <a:gd name="T78" fmla="*/ 634633 w 824229"/>
                <a:gd name="T79" fmla="*/ 61559 h 824229"/>
                <a:gd name="T80" fmla="*/ 577472 w 824229"/>
                <a:gd name="T81" fmla="*/ 32292 h 824229"/>
                <a:gd name="T82" fmla="*/ 515565 w 824229"/>
                <a:gd name="T83" fmla="*/ 11939 h 824229"/>
                <a:gd name="T84" fmla="*/ 449763 w 824229"/>
                <a:gd name="T85" fmla="*/ 1359 h 824229"/>
                <a:gd name="T86" fmla="*/ 415673 w 824229"/>
                <a:gd name="T87" fmla="*/ 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29"/>
                <a:gd name="T133" fmla="*/ 0 h 824229"/>
                <a:gd name="T134" fmla="*/ 824229 w 824229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29" h="824229">
                  <a:moveTo>
                    <a:pt x="411848" y="0"/>
                  </a:moveTo>
                  <a:lnTo>
                    <a:pt x="345044" y="5390"/>
                  </a:lnTo>
                  <a:lnTo>
                    <a:pt x="281672" y="20996"/>
                  </a:lnTo>
                  <a:lnTo>
                    <a:pt x="222580" y="45969"/>
                  </a:lnTo>
                  <a:lnTo>
                    <a:pt x="168616" y="79462"/>
                  </a:lnTo>
                  <a:lnTo>
                    <a:pt x="120627" y="120626"/>
                  </a:lnTo>
                  <a:lnTo>
                    <a:pt x="79462" y="168613"/>
                  </a:lnTo>
                  <a:lnTo>
                    <a:pt x="45969" y="222576"/>
                  </a:lnTo>
                  <a:lnTo>
                    <a:pt x="20996" y="281666"/>
                  </a:lnTo>
                  <a:lnTo>
                    <a:pt x="5390" y="345035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lnTo>
                    <a:pt x="445626" y="822318"/>
                  </a:lnTo>
                  <a:lnTo>
                    <a:pt x="510820" y="811714"/>
                  </a:lnTo>
                  <a:lnTo>
                    <a:pt x="572158" y="791318"/>
                  </a:lnTo>
                  <a:lnTo>
                    <a:pt x="628792" y="761979"/>
                  </a:lnTo>
                  <a:lnTo>
                    <a:pt x="679874" y="724544"/>
                  </a:lnTo>
                  <a:lnTo>
                    <a:pt x="724557" y="679861"/>
                  </a:lnTo>
                  <a:lnTo>
                    <a:pt x="761992" y="628779"/>
                  </a:lnTo>
                  <a:lnTo>
                    <a:pt x="791331" y="572145"/>
                  </a:lnTo>
                  <a:lnTo>
                    <a:pt x="811727" y="510807"/>
                  </a:lnTo>
                  <a:lnTo>
                    <a:pt x="822331" y="445613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78" name="object 20"/>
            <p:cNvSpPr>
              <a:spLocks noChangeArrowheads="1"/>
            </p:cNvSpPr>
            <p:nvPr/>
          </p:nvSpPr>
          <p:spPr bwMode="auto">
            <a:xfrm>
              <a:off x="7842250" y="4098925"/>
              <a:ext cx="823913" cy="823913"/>
            </a:xfrm>
            <a:prstGeom prst="rect">
              <a:avLst/>
            </a:prstGeom>
            <a:blipFill dpi="0"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79" name="object 21"/>
            <p:cNvSpPr>
              <a:spLocks noChangeArrowheads="1"/>
            </p:cNvSpPr>
            <p:nvPr/>
          </p:nvSpPr>
          <p:spPr bwMode="auto">
            <a:xfrm>
              <a:off x="7842250" y="4098925"/>
              <a:ext cx="825500" cy="823913"/>
            </a:xfrm>
            <a:custGeom>
              <a:avLst/>
              <a:gdLst>
                <a:gd name="T0" fmla="*/ 415673 w 824229"/>
                <a:gd name="T1" fmla="*/ 821790 h 824229"/>
                <a:gd name="T2" fmla="*/ 483098 w 824229"/>
                <a:gd name="T3" fmla="*/ 816413 h 824229"/>
                <a:gd name="T4" fmla="*/ 547058 w 824229"/>
                <a:gd name="T5" fmla="*/ 800842 h 824229"/>
                <a:gd name="T6" fmla="*/ 606699 w 824229"/>
                <a:gd name="T7" fmla="*/ 775926 h 824229"/>
                <a:gd name="T8" fmla="*/ 661164 w 824229"/>
                <a:gd name="T9" fmla="*/ 742510 h 824229"/>
                <a:gd name="T10" fmla="*/ 709599 w 824229"/>
                <a:gd name="T11" fmla="*/ 701441 h 824229"/>
                <a:gd name="T12" fmla="*/ 751146 w 824229"/>
                <a:gd name="T13" fmla="*/ 653561 h 824229"/>
                <a:gd name="T14" fmla="*/ 784950 w 824229"/>
                <a:gd name="T15" fmla="*/ 599723 h 824229"/>
                <a:gd name="T16" fmla="*/ 810156 w 824229"/>
                <a:gd name="T17" fmla="*/ 540766 h 824229"/>
                <a:gd name="T18" fmla="*/ 825908 w 824229"/>
                <a:gd name="T19" fmla="*/ 477540 h 824229"/>
                <a:gd name="T20" fmla="*/ 831346 w 824229"/>
                <a:gd name="T21" fmla="*/ 410887 h 824229"/>
                <a:gd name="T22" fmla="*/ 829969 w 824229"/>
                <a:gd name="T23" fmla="*/ 377189 h 824229"/>
                <a:gd name="T24" fmla="*/ 819267 w 824229"/>
                <a:gd name="T25" fmla="*/ 312148 h 824229"/>
                <a:gd name="T26" fmla="*/ 798681 w 824229"/>
                <a:gd name="T27" fmla="*/ 250957 h 824229"/>
                <a:gd name="T28" fmla="*/ 769069 w 824229"/>
                <a:gd name="T29" fmla="*/ 194450 h 824229"/>
                <a:gd name="T30" fmla="*/ 731287 w 824229"/>
                <a:gd name="T31" fmla="*/ 143489 h 824229"/>
                <a:gd name="T32" fmla="*/ 686189 w 824229"/>
                <a:gd name="T33" fmla="*/ 98910 h 824229"/>
                <a:gd name="T34" fmla="*/ 634633 w 824229"/>
                <a:gd name="T35" fmla="*/ 61559 h 824229"/>
                <a:gd name="T36" fmla="*/ 577472 w 824229"/>
                <a:gd name="T37" fmla="*/ 32292 h 824229"/>
                <a:gd name="T38" fmla="*/ 515565 w 824229"/>
                <a:gd name="T39" fmla="*/ 11939 h 824229"/>
                <a:gd name="T40" fmla="*/ 449763 w 824229"/>
                <a:gd name="T41" fmla="*/ 1359 h 824229"/>
                <a:gd name="T42" fmla="*/ 415673 w 824229"/>
                <a:gd name="T43" fmla="*/ 0 h 824229"/>
                <a:gd name="T44" fmla="*/ 381583 w 824229"/>
                <a:gd name="T45" fmla="*/ 1359 h 824229"/>
                <a:gd name="T46" fmla="*/ 315781 w 824229"/>
                <a:gd name="T47" fmla="*/ 11939 h 824229"/>
                <a:gd name="T48" fmla="*/ 253874 w 824229"/>
                <a:gd name="T49" fmla="*/ 32292 h 824229"/>
                <a:gd name="T50" fmla="*/ 196714 w 824229"/>
                <a:gd name="T51" fmla="*/ 61559 h 824229"/>
                <a:gd name="T52" fmla="*/ 145158 w 824229"/>
                <a:gd name="T53" fmla="*/ 98910 h 824229"/>
                <a:gd name="T54" fmla="*/ 100060 w 824229"/>
                <a:gd name="T55" fmla="*/ 143489 h 824229"/>
                <a:gd name="T56" fmla="*/ 62277 w 824229"/>
                <a:gd name="T57" fmla="*/ 194450 h 824229"/>
                <a:gd name="T58" fmla="*/ 32665 w 824229"/>
                <a:gd name="T59" fmla="*/ 250957 h 824229"/>
                <a:gd name="T60" fmla="*/ 12081 w 824229"/>
                <a:gd name="T61" fmla="*/ 312148 h 824229"/>
                <a:gd name="T62" fmla="*/ 1377 w 824229"/>
                <a:gd name="T63" fmla="*/ 377189 h 824229"/>
                <a:gd name="T64" fmla="*/ 0 w 824229"/>
                <a:gd name="T65" fmla="*/ 410887 h 824229"/>
                <a:gd name="T66" fmla="*/ 1377 w 824229"/>
                <a:gd name="T67" fmla="*/ 444587 h 824229"/>
                <a:gd name="T68" fmla="*/ 12081 w 824229"/>
                <a:gd name="T69" fmla="*/ 509632 h 824229"/>
                <a:gd name="T70" fmla="*/ 32665 w 824229"/>
                <a:gd name="T71" fmla="*/ 570831 h 824229"/>
                <a:gd name="T72" fmla="*/ 62277 w 824229"/>
                <a:gd name="T73" fmla="*/ 627333 h 824229"/>
                <a:gd name="T74" fmla="*/ 100060 w 824229"/>
                <a:gd name="T75" fmla="*/ 678299 h 824229"/>
                <a:gd name="T76" fmla="*/ 145158 w 824229"/>
                <a:gd name="T77" fmla="*/ 722879 h 824229"/>
                <a:gd name="T78" fmla="*/ 196714 w 824229"/>
                <a:gd name="T79" fmla="*/ 760227 h 824229"/>
                <a:gd name="T80" fmla="*/ 253874 w 824229"/>
                <a:gd name="T81" fmla="*/ 789500 h 824229"/>
                <a:gd name="T82" fmla="*/ 315781 w 824229"/>
                <a:gd name="T83" fmla="*/ 809848 h 824229"/>
                <a:gd name="T84" fmla="*/ 381583 w 824229"/>
                <a:gd name="T85" fmla="*/ 820428 h 824229"/>
                <a:gd name="T86" fmla="*/ 415673 w 824229"/>
                <a:gd name="T87" fmla="*/ 82179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29"/>
                <a:gd name="T133" fmla="*/ 0 h 824229"/>
                <a:gd name="T134" fmla="*/ 824229 w 824229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29" h="824229">
                  <a:moveTo>
                    <a:pt x="411848" y="823683"/>
                  </a:moveTo>
                  <a:lnTo>
                    <a:pt x="478652" y="818293"/>
                  </a:lnTo>
                  <a:lnTo>
                    <a:pt x="542024" y="802687"/>
                  </a:lnTo>
                  <a:lnTo>
                    <a:pt x="601116" y="777714"/>
                  </a:lnTo>
                  <a:lnTo>
                    <a:pt x="655080" y="744220"/>
                  </a:lnTo>
                  <a:lnTo>
                    <a:pt x="703068" y="703056"/>
                  </a:lnTo>
                  <a:lnTo>
                    <a:pt x="744233" y="655067"/>
                  </a:lnTo>
                  <a:lnTo>
                    <a:pt x="777726" y="601103"/>
                  </a:lnTo>
                  <a:lnTo>
                    <a:pt x="802700" y="542011"/>
                  </a:lnTo>
                  <a:lnTo>
                    <a:pt x="818306" y="478639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lnTo>
                    <a:pt x="378070" y="1365"/>
                  </a:lnTo>
                  <a:lnTo>
                    <a:pt x="312876" y="11969"/>
                  </a:lnTo>
                  <a:lnTo>
                    <a:pt x="251538" y="32364"/>
                  </a:lnTo>
                  <a:lnTo>
                    <a:pt x="194904" y="61703"/>
                  </a:lnTo>
                  <a:lnTo>
                    <a:pt x="143822" y="99138"/>
                  </a:lnTo>
                  <a:lnTo>
                    <a:pt x="99139" y="143819"/>
                  </a:lnTo>
                  <a:lnTo>
                    <a:pt x="61704" y="194900"/>
                  </a:lnTo>
                  <a:lnTo>
                    <a:pt x="32365" y="251533"/>
                  </a:lnTo>
                  <a:lnTo>
                    <a:pt x="11969" y="312868"/>
                  </a:lnTo>
                  <a:lnTo>
                    <a:pt x="1365" y="378059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80" name="object 22"/>
            <p:cNvSpPr>
              <a:spLocks noChangeArrowheads="1"/>
            </p:cNvSpPr>
            <p:nvPr/>
          </p:nvSpPr>
          <p:spPr bwMode="auto">
            <a:xfrm>
              <a:off x="7900988" y="3132138"/>
              <a:ext cx="708025" cy="709612"/>
            </a:xfrm>
            <a:custGeom>
              <a:avLst/>
              <a:gdLst>
                <a:gd name="T0" fmla="*/ 352318 w 708659"/>
                <a:gd name="T1" fmla="*/ 0 h 708660"/>
                <a:gd name="T2" fmla="*/ 295170 w 708659"/>
                <a:gd name="T3" fmla="*/ 4672 h 708660"/>
                <a:gd name="T4" fmla="*/ 240957 w 708659"/>
                <a:gd name="T5" fmla="*/ 18203 h 708660"/>
                <a:gd name="T6" fmla="*/ 190405 w 708659"/>
                <a:gd name="T7" fmla="*/ 39856 h 708660"/>
                <a:gd name="T8" fmla="*/ 144242 w 708659"/>
                <a:gd name="T9" fmla="*/ 68897 h 708660"/>
                <a:gd name="T10" fmla="*/ 103190 w 708659"/>
                <a:gd name="T11" fmla="*/ 104590 h 708660"/>
                <a:gd name="T12" fmla="*/ 67976 w 708659"/>
                <a:gd name="T13" fmla="*/ 146197 h 708660"/>
                <a:gd name="T14" fmla="*/ 39326 w 708659"/>
                <a:gd name="T15" fmla="*/ 192986 h 708660"/>
                <a:gd name="T16" fmla="*/ 17961 w 708659"/>
                <a:gd name="T17" fmla="*/ 244218 h 708660"/>
                <a:gd name="T18" fmla="*/ 4612 w 708659"/>
                <a:gd name="T19" fmla="*/ 299162 h 708660"/>
                <a:gd name="T20" fmla="*/ 0 w 708659"/>
                <a:gd name="T21" fmla="*/ 357079 h 708660"/>
                <a:gd name="T22" fmla="*/ 1168 w 708659"/>
                <a:gd name="T23" fmla="*/ 386367 h 708660"/>
                <a:gd name="T24" fmla="*/ 10240 w 708659"/>
                <a:gd name="T25" fmla="*/ 442891 h 708660"/>
                <a:gd name="T26" fmla="*/ 27685 w 708659"/>
                <a:gd name="T27" fmla="*/ 496073 h 708660"/>
                <a:gd name="T28" fmla="*/ 52786 w 708659"/>
                <a:gd name="T29" fmla="*/ 545174 h 708660"/>
                <a:gd name="T30" fmla="*/ 84809 w 708659"/>
                <a:gd name="T31" fmla="*/ 589467 h 708660"/>
                <a:gd name="T32" fmla="*/ 123032 w 708659"/>
                <a:gd name="T33" fmla="*/ 628206 h 708660"/>
                <a:gd name="T34" fmla="*/ 166730 w 708659"/>
                <a:gd name="T35" fmla="*/ 660662 h 708660"/>
                <a:gd name="T36" fmla="*/ 215178 w 708659"/>
                <a:gd name="T37" fmla="*/ 686099 h 708660"/>
                <a:gd name="T38" fmla="*/ 267650 w 708659"/>
                <a:gd name="T39" fmla="*/ 703783 h 708660"/>
                <a:gd name="T40" fmla="*/ 323422 w 708659"/>
                <a:gd name="T41" fmla="*/ 712977 h 708660"/>
                <a:gd name="T42" fmla="*/ 352318 w 708659"/>
                <a:gd name="T43" fmla="*/ 714161 h 708660"/>
                <a:gd name="T44" fmla="*/ 381214 w 708659"/>
                <a:gd name="T45" fmla="*/ 712977 h 708660"/>
                <a:gd name="T46" fmla="*/ 436985 w 708659"/>
                <a:gd name="T47" fmla="*/ 703783 h 708660"/>
                <a:gd name="T48" fmla="*/ 489458 w 708659"/>
                <a:gd name="T49" fmla="*/ 686099 h 708660"/>
                <a:gd name="T50" fmla="*/ 537906 w 708659"/>
                <a:gd name="T51" fmla="*/ 660662 h 708660"/>
                <a:gd name="T52" fmla="*/ 581604 w 708659"/>
                <a:gd name="T53" fmla="*/ 628206 h 708660"/>
                <a:gd name="T54" fmla="*/ 619828 w 708659"/>
                <a:gd name="T55" fmla="*/ 589467 h 708660"/>
                <a:gd name="T56" fmla="*/ 651852 w 708659"/>
                <a:gd name="T57" fmla="*/ 545174 h 708660"/>
                <a:gd name="T58" fmla="*/ 676950 w 708659"/>
                <a:gd name="T59" fmla="*/ 496073 h 708660"/>
                <a:gd name="T60" fmla="*/ 694398 w 708659"/>
                <a:gd name="T61" fmla="*/ 442891 h 708660"/>
                <a:gd name="T62" fmla="*/ 703469 w 708659"/>
                <a:gd name="T63" fmla="*/ 386367 h 708660"/>
                <a:gd name="T64" fmla="*/ 704636 w 708659"/>
                <a:gd name="T65" fmla="*/ 357079 h 708660"/>
                <a:gd name="T66" fmla="*/ 703469 w 708659"/>
                <a:gd name="T67" fmla="*/ 327795 h 708660"/>
                <a:gd name="T68" fmla="*/ 694398 w 708659"/>
                <a:gd name="T69" fmla="*/ 271271 h 708660"/>
                <a:gd name="T70" fmla="*/ 676950 w 708659"/>
                <a:gd name="T71" fmla="*/ 218093 h 708660"/>
                <a:gd name="T72" fmla="*/ 651852 w 708659"/>
                <a:gd name="T73" fmla="*/ 168989 h 708660"/>
                <a:gd name="T74" fmla="*/ 619828 w 708659"/>
                <a:gd name="T75" fmla="*/ 124699 h 708660"/>
                <a:gd name="T76" fmla="*/ 581604 w 708659"/>
                <a:gd name="T77" fmla="*/ 85959 h 708660"/>
                <a:gd name="T78" fmla="*/ 537906 w 708659"/>
                <a:gd name="T79" fmla="*/ 53500 h 708660"/>
                <a:gd name="T80" fmla="*/ 489458 w 708659"/>
                <a:gd name="T81" fmla="*/ 28062 h 708660"/>
                <a:gd name="T82" fmla="*/ 436985 w 708659"/>
                <a:gd name="T83" fmla="*/ 10379 h 708660"/>
                <a:gd name="T84" fmla="*/ 381214 w 708659"/>
                <a:gd name="T85" fmla="*/ 1186 h 708660"/>
                <a:gd name="T86" fmla="*/ 352318 w 708659"/>
                <a:gd name="T87" fmla="*/ 0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59"/>
                <a:gd name="T133" fmla="*/ 0 h 708660"/>
                <a:gd name="T134" fmla="*/ 708659 w 708659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59" h="708660">
                  <a:moveTo>
                    <a:pt x="354215" y="0"/>
                  </a:moveTo>
                  <a:lnTo>
                    <a:pt x="296759" y="4636"/>
                  </a:lnTo>
                  <a:lnTo>
                    <a:pt x="242255" y="18059"/>
                  </a:lnTo>
                  <a:lnTo>
                    <a:pt x="191431" y="39538"/>
                  </a:lnTo>
                  <a:lnTo>
                    <a:pt x="145019" y="68345"/>
                  </a:lnTo>
                  <a:lnTo>
                    <a:pt x="103746" y="103751"/>
                  </a:lnTo>
                  <a:lnTo>
                    <a:pt x="68342" y="145024"/>
                  </a:lnTo>
                  <a:lnTo>
                    <a:pt x="39536" y="191437"/>
                  </a:lnTo>
                  <a:lnTo>
                    <a:pt x="18057" y="242259"/>
                  </a:lnTo>
                  <a:lnTo>
                    <a:pt x="4636" y="296762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lnTo>
                    <a:pt x="383267" y="707257"/>
                  </a:lnTo>
                  <a:lnTo>
                    <a:pt x="439338" y="698137"/>
                  </a:lnTo>
                  <a:lnTo>
                    <a:pt x="492093" y="680595"/>
                  </a:lnTo>
                  <a:lnTo>
                    <a:pt x="540802" y="655362"/>
                  </a:lnTo>
                  <a:lnTo>
                    <a:pt x="584736" y="623166"/>
                  </a:lnTo>
                  <a:lnTo>
                    <a:pt x="623166" y="584736"/>
                  </a:lnTo>
                  <a:lnTo>
                    <a:pt x="655362" y="540802"/>
                  </a:lnTo>
                  <a:lnTo>
                    <a:pt x="680595" y="492093"/>
                  </a:lnTo>
                  <a:lnTo>
                    <a:pt x="698137" y="439338"/>
                  </a:lnTo>
                  <a:lnTo>
                    <a:pt x="707257" y="383267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81" name="object 23"/>
            <p:cNvSpPr>
              <a:spLocks noChangeArrowheads="1"/>
            </p:cNvSpPr>
            <p:nvPr/>
          </p:nvSpPr>
          <p:spPr bwMode="auto">
            <a:xfrm>
              <a:off x="7900988" y="3132138"/>
              <a:ext cx="708025" cy="709612"/>
            </a:xfrm>
            <a:prstGeom prst="rect">
              <a:avLst/>
            </a:prstGeom>
            <a:blipFill dpi="0"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82" name="object 24"/>
            <p:cNvSpPr>
              <a:spLocks noChangeArrowheads="1"/>
            </p:cNvSpPr>
            <p:nvPr/>
          </p:nvSpPr>
          <p:spPr bwMode="auto">
            <a:xfrm>
              <a:off x="7900988" y="3132138"/>
              <a:ext cx="708025" cy="709612"/>
            </a:xfrm>
            <a:custGeom>
              <a:avLst/>
              <a:gdLst>
                <a:gd name="T0" fmla="*/ 352318 w 708659"/>
                <a:gd name="T1" fmla="*/ 714161 h 708660"/>
                <a:gd name="T2" fmla="*/ 409467 w 708659"/>
                <a:gd name="T3" fmla="*/ 709487 h 708660"/>
                <a:gd name="T4" fmla="*/ 463679 w 708659"/>
                <a:gd name="T5" fmla="*/ 695956 h 708660"/>
                <a:gd name="T6" fmla="*/ 514229 w 708659"/>
                <a:gd name="T7" fmla="*/ 674305 h 708660"/>
                <a:gd name="T8" fmla="*/ 560394 w 708659"/>
                <a:gd name="T9" fmla="*/ 645266 h 708660"/>
                <a:gd name="T10" fmla="*/ 601447 w 708659"/>
                <a:gd name="T11" fmla="*/ 609576 h 708660"/>
                <a:gd name="T12" fmla="*/ 636660 w 708659"/>
                <a:gd name="T13" fmla="*/ 567969 h 708660"/>
                <a:gd name="T14" fmla="*/ 665313 w 708659"/>
                <a:gd name="T15" fmla="*/ 521179 h 708660"/>
                <a:gd name="T16" fmla="*/ 686675 w 708659"/>
                <a:gd name="T17" fmla="*/ 469946 h 708660"/>
                <a:gd name="T18" fmla="*/ 700025 w 708659"/>
                <a:gd name="T19" fmla="*/ 415002 h 708660"/>
                <a:gd name="T20" fmla="*/ 704636 w 708659"/>
                <a:gd name="T21" fmla="*/ 357079 h 708660"/>
                <a:gd name="T22" fmla="*/ 703469 w 708659"/>
                <a:gd name="T23" fmla="*/ 327795 h 708660"/>
                <a:gd name="T24" fmla="*/ 694398 w 708659"/>
                <a:gd name="T25" fmla="*/ 271271 h 708660"/>
                <a:gd name="T26" fmla="*/ 676950 w 708659"/>
                <a:gd name="T27" fmla="*/ 218093 h 708660"/>
                <a:gd name="T28" fmla="*/ 651852 w 708659"/>
                <a:gd name="T29" fmla="*/ 168989 h 708660"/>
                <a:gd name="T30" fmla="*/ 619828 w 708659"/>
                <a:gd name="T31" fmla="*/ 124699 h 708660"/>
                <a:gd name="T32" fmla="*/ 581604 w 708659"/>
                <a:gd name="T33" fmla="*/ 85959 h 708660"/>
                <a:gd name="T34" fmla="*/ 537906 w 708659"/>
                <a:gd name="T35" fmla="*/ 53500 h 708660"/>
                <a:gd name="T36" fmla="*/ 489458 w 708659"/>
                <a:gd name="T37" fmla="*/ 28062 h 708660"/>
                <a:gd name="T38" fmla="*/ 436985 w 708659"/>
                <a:gd name="T39" fmla="*/ 10379 h 708660"/>
                <a:gd name="T40" fmla="*/ 381214 w 708659"/>
                <a:gd name="T41" fmla="*/ 1186 h 708660"/>
                <a:gd name="T42" fmla="*/ 352318 w 708659"/>
                <a:gd name="T43" fmla="*/ 0 h 708660"/>
                <a:gd name="T44" fmla="*/ 323422 w 708659"/>
                <a:gd name="T45" fmla="*/ 1186 h 708660"/>
                <a:gd name="T46" fmla="*/ 267650 w 708659"/>
                <a:gd name="T47" fmla="*/ 10379 h 708660"/>
                <a:gd name="T48" fmla="*/ 215178 w 708659"/>
                <a:gd name="T49" fmla="*/ 28062 h 708660"/>
                <a:gd name="T50" fmla="*/ 166730 w 708659"/>
                <a:gd name="T51" fmla="*/ 53500 h 708660"/>
                <a:gd name="T52" fmla="*/ 123032 w 708659"/>
                <a:gd name="T53" fmla="*/ 85959 h 708660"/>
                <a:gd name="T54" fmla="*/ 84809 w 708659"/>
                <a:gd name="T55" fmla="*/ 124699 h 708660"/>
                <a:gd name="T56" fmla="*/ 52786 w 708659"/>
                <a:gd name="T57" fmla="*/ 168989 h 708660"/>
                <a:gd name="T58" fmla="*/ 27685 w 708659"/>
                <a:gd name="T59" fmla="*/ 218093 h 708660"/>
                <a:gd name="T60" fmla="*/ 10240 w 708659"/>
                <a:gd name="T61" fmla="*/ 271271 h 708660"/>
                <a:gd name="T62" fmla="*/ 1168 w 708659"/>
                <a:gd name="T63" fmla="*/ 327795 h 708660"/>
                <a:gd name="T64" fmla="*/ 0 w 708659"/>
                <a:gd name="T65" fmla="*/ 357079 h 708660"/>
                <a:gd name="T66" fmla="*/ 1168 w 708659"/>
                <a:gd name="T67" fmla="*/ 386367 h 708660"/>
                <a:gd name="T68" fmla="*/ 10240 w 708659"/>
                <a:gd name="T69" fmla="*/ 442891 h 708660"/>
                <a:gd name="T70" fmla="*/ 27685 w 708659"/>
                <a:gd name="T71" fmla="*/ 496073 h 708660"/>
                <a:gd name="T72" fmla="*/ 52786 w 708659"/>
                <a:gd name="T73" fmla="*/ 545174 h 708660"/>
                <a:gd name="T74" fmla="*/ 84809 w 708659"/>
                <a:gd name="T75" fmla="*/ 589467 h 708660"/>
                <a:gd name="T76" fmla="*/ 123032 w 708659"/>
                <a:gd name="T77" fmla="*/ 628206 h 708660"/>
                <a:gd name="T78" fmla="*/ 166730 w 708659"/>
                <a:gd name="T79" fmla="*/ 660662 h 708660"/>
                <a:gd name="T80" fmla="*/ 215178 w 708659"/>
                <a:gd name="T81" fmla="*/ 686099 h 708660"/>
                <a:gd name="T82" fmla="*/ 267650 w 708659"/>
                <a:gd name="T83" fmla="*/ 703783 h 708660"/>
                <a:gd name="T84" fmla="*/ 323422 w 708659"/>
                <a:gd name="T85" fmla="*/ 712977 h 708660"/>
                <a:gd name="T86" fmla="*/ 352318 w 708659"/>
                <a:gd name="T87" fmla="*/ 714161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59"/>
                <a:gd name="T133" fmla="*/ 0 h 708660"/>
                <a:gd name="T134" fmla="*/ 708659 w 708659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59" h="708660">
                  <a:moveTo>
                    <a:pt x="354215" y="708431"/>
                  </a:moveTo>
                  <a:lnTo>
                    <a:pt x="411672" y="703795"/>
                  </a:lnTo>
                  <a:lnTo>
                    <a:pt x="466176" y="690373"/>
                  </a:lnTo>
                  <a:lnTo>
                    <a:pt x="516999" y="668895"/>
                  </a:lnTo>
                  <a:lnTo>
                    <a:pt x="563412" y="640089"/>
                  </a:lnTo>
                  <a:lnTo>
                    <a:pt x="604685" y="604685"/>
                  </a:lnTo>
                  <a:lnTo>
                    <a:pt x="640089" y="563412"/>
                  </a:lnTo>
                  <a:lnTo>
                    <a:pt x="668895" y="516999"/>
                  </a:lnTo>
                  <a:lnTo>
                    <a:pt x="690373" y="466176"/>
                  </a:lnTo>
                  <a:lnTo>
                    <a:pt x="703795" y="411672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lnTo>
                    <a:pt x="325164" y="1174"/>
                  </a:lnTo>
                  <a:lnTo>
                    <a:pt x="269092" y="10295"/>
                  </a:lnTo>
                  <a:lnTo>
                    <a:pt x="216337" y="27837"/>
                  </a:lnTo>
                  <a:lnTo>
                    <a:pt x="167628" y="53071"/>
                  </a:lnTo>
                  <a:lnTo>
                    <a:pt x="123694" y="85269"/>
                  </a:lnTo>
                  <a:lnTo>
                    <a:pt x="85265" y="123699"/>
                  </a:lnTo>
                  <a:lnTo>
                    <a:pt x="53068" y="167634"/>
                  </a:lnTo>
                  <a:lnTo>
                    <a:pt x="27835" y="216343"/>
                  </a:lnTo>
                  <a:lnTo>
                    <a:pt x="10294" y="269096"/>
                  </a:lnTo>
                  <a:lnTo>
                    <a:pt x="1174" y="325165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83" name="object 25"/>
            <p:cNvSpPr>
              <a:spLocks noChangeArrowheads="1"/>
            </p:cNvSpPr>
            <p:nvPr/>
          </p:nvSpPr>
          <p:spPr bwMode="auto">
            <a:xfrm>
              <a:off x="8216900" y="2493963"/>
              <a:ext cx="76200" cy="76200"/>
            </a:xfrm>
            <a:custGeom>
              <a:avLst/>
              <a:gdLst>
                <a:gd name="T0" fmla="*/ 44889 w 76200"/>
                <a:gd name="T1" fmla="*/ 0 h 76835"/>
                <a:gd name="T2" fmla="*/ 28301 w 76200"/>
                <a:gd name="T3" fmla="*/ 1672 h 76835"/>
                <a:gd name="T4" fmla="*/ 15085 w 76200"/>
                <a:gd name="T5" fmla="*/ 7119 h 76835"/>
                <a:gd name="T6" fmla="*/ 5549 w 76200"/>
                <a:gd name="T7" fmla="*/ 15608 h 76835"/>
                <a:gd name="T8" fmla="*/ 0 w 76200"/>
                <a:gd name="T9" fmla="*/ 26405 h 76835"/>
                <a:gd name="T10" fmla="*/ 1330 w 76200"/>
                <a:gd name="T11" fmla="*/ 42812 h 76835"/>
                <a:gd name="T12" fmla="*/ 6490 w 76200"/>
                <a:gd name="T13" fmla="*/ 55796 h 76835"/>
                <a:gd name="T14" fmla="*/ 14762 w 76200"/>
                <a:gd name="T15" fmla="*/ 65209 h 76835"/>
                <a:gd name="T16" fmla="*/ 25425 w 76200"/>
                <a:gd name="T17" fmla="*/ 70897 h 76835"/>
                <a:gd name="T18" fmla="*/ 37232 w 76200"/>
                <a:gd name="T19" fmla="*/ 72723 h 76835"/>
                <a:gd name="T20" fmla="*/ 51284 w 76200"/>
                <a:gd name="T21" fmla="*/ 70210 h 76835"/>
                <a:gd name="T22" fmla="*/ 63028 w 76200"/>
                <a:gd name="T23" fmla="*/ 63311 h 76835"/>
                <a:gd name="T24" fmla="*/ 71461 w 76200"/>
                <a:gd name="T25" fmla="*/ 52976 h 76835"/>
                <a:gd name="T26" fmla="*/ 75581 w 76200"/>
                <a:gd name="T27" fmla="*/ 40156 h 76835"/>
                <a:gd name="T28" fmla="*/ 73357 w 76200"/>
                <a:gd name="T29" fmla="*/ 25321 h 76835"/>
                <a:gd name="T30" fmla="*/ 66931 w 76200"/>
                <a:gd name="T31" fmla="*/ 13328 h 76835"/>
                <a:gd name="T32" fmla="*/ 57157 w 76200"/>
                <a:gd name="T33" fmla="*/ 4709 h 76835"/>
                <a:gd name="T34" fmla="*/ 44889 w 76200"/>
                <a:gd name="T35" fmla="*/ 0 h 7683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6200"/>
                <a:gd name="T55" fmla="*/ 0 h 76835"/>
                <a:gd name="T56" fmla="*/ 76200 w 76200"/>
                <a:gd name="T57" fmla="*/ 76835 h 7683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6200" h="76835">
                  <a:moveTo>
                    <a:pt x="44889" y="0"/>
                  </a:moveTo>
                  <a:lnTo>
                    <a:pt x="28301" y="1757"/>
                  </a:lnTo>
                  <a:lnTo>
                    <a:pt x="15085" y="7482"/>
                  </a:lnTo>
                  <a:lnTo>
                    <a:pt x="5549" y="16404"/>
                  </a:lnTo>
                  <a:lnTo>
                    <a:pt x="0" y="27753"/>
                  </a:lnTo>
                  <a:lnTo>
                    <a:pt x="1330" y="44999"/>
                  </a:lnTo>
                  <a:lnTo>
                    <a:pt x="6490" y="58646"/>
                  </a:lnTo>
                  <a:lnTo>
                    <a:pt x="14762" y="68537"/>
                  </a:lnTo>
                  <a:lnTo>
                    <a:pt x="25425" y="74518"/>
                  </a:lnTo>
                  <a:lnTo>
                    <a:pt x="37232" y="76435"/>
                  </a:lnTo>
                  <a:lnTo>
                    <a:pt x="51284" y="73795"/>
                  </a:lnTo>
                  <a:lnTo>
                    <a:pt x="63028" y="66543"/>
                  </a:lnTo>
                  <a:lnTo>
                    <a:pt x="71461" y="55680"/>
                  </a:lnTo>
                  <a:lnTo>
                    <a:pt x="75581" y="42206"/>
                  </a:lnTo>
                  <a:lnTo>
                    <a:pt x="73357" y="26614"/>
                  </a:lnTo>
                  <a:lnTo>
                    <a:pt x="66931" y="14009"/>
                  </a:lnTo>
                  <a:lnTo>
                    <a:pt x="57157" y="4950"/>
                  </a:lnTo>
                  <a:lnTo>
                    <a:pt x="44889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84" name="object 26"/>
            <p:cNvSpPr>
              <a:spLocks noChangeArrowheads="1"/>
            </p:cNvSpPr>
            <p:nvPr/>
          </p:nvSpPr>
          <p:spPr bwMode="auto">
            <a:xfrm>
              <a:off x="8216900" y="2493963"/>
              <a:ext cx="76200" cy="76200"/>
            </a:xfrm>
            <a:custGeom>
              <a:avLst/>
              <a:gdLst>
                <a:gd name="T0" fmla="*/ 37232 w 76200"/>
                <a:gd name="T1" fmla="*/ 72723 h 76835"/>
                <a:gd name="T2" fmla="*/ 51284 w 76200"/>
                <a:gd name="T3" fmla="*/ 70210 h 76835"/>
                <a:gd name="T4" fmla="*/ 63028 w 76200"/>
                <a:gd name="T5" fmla="*/ 63311 h 76835"/>
                <a:gd name="T6" fmla="*/ 71461 w 76200"/>
                <a:gd name="T7" fmla="*/ 52976 h 76835"/>
                <a:gd name="T8" fmla="*/ 75581 w 76200"/>
                <a:gd name="T9" fmla="*/ 40156 h 76835"/>
                <a:gd name="T10" fmla="*/ 73357 w 76200"/>
                <a:gd name="T11" fmla="*/ 25321 h 76835"/>
                <a:gd name="T12" fmla="*/ 66931 w 76200"/>
                <a:gd name="T13" fmla="*/ 13328 h 76835"/>
                <a:gd name="T14" fmla="*/ 57157 w 76200"/>
                <a:gd name="T15" fmla="*/ 4709 h 76835"/>
                <a:gd name="T16" fmla="*/ 44889 w 76200"/>
                <a:gd name="T17" fmla="*/ 0 h 76835"/>
                <a:gd name="T18" fmla="*/ 28301 w 76200"/>
                <a:gd name="T19" fmla="*/ 1672 h 76835"/>
                <a:gd name="T20" fmla="*/ 15085 w 76200"/>
                <a:gd name="T21" fmla="*/ 7119 h 76835"/>
                <a:gd name="T22" fmla="*/ 5549 w 76200"/>
                <a:gd name="T23" fmla="*/ 15608 h 76835"/>
                <a:gd name="T24" fmla="*/ 0 w 76200"/>
                <a:gd name="T25" fmla="*/ 26405 h 76835"/>
                <a:gd name="T26" fmla="*/ 1330 w 76200"/>
                <a:gd name="T27" fmla="*/ 42812 h 76835"/>
                <a:gd name="T28" fmla="*/ 6490 w 76200"/>
                <a:gd name="T29" fmla="*/ 55796 h 76835"/>
                <a:gd name="T30" fmla="*/ 14762 w 76200"/>
                <a:gd name="T31" fmla="*/ 65209 h 76835"/>
                <a:gd name="T32" fmla="*/ 25425 w 76200"/>
                <a:gd name="T33" fmla="*/ 70897 h 76835"/>
                <a:gd name="T34" fmla="*/ 37232 w 76200"/>
                <a:gd name="T35" fmla="*/ 72723 h 7683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6200"/>
                <a:gd name="T55" fmla="*/ 0 h 76835"/>
                <a:gd name="T56" fmla="*/ 76200 w 76200"/>
                <a:gd name="T57" fmla="*/ 76835 h 7683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6200" h="76835">
                  <a:moveTo>
                    <a:pt x="37232" y="76435"/>
                  </a:moveTo>
                  <a:lnTo>
                    <a:pt x="51284" y="73795"/>
                  </a:lnTo>
                  <a:lnTo>
                    <a:pt x="63028" y="66543"/>
                  </a:lnTo>
                  <a:lnTo>
                    <a:pt x="71461" y="55680"/>
                  </a:lnTo>
                  <a:lnTo>
                    <a:pt x="75581" y="42206"/>
                  </a:lnTo>
                  <a:lnTo>
                    <a:pt x="73357" y="26614"/>
                  </a:lnTo>
                  <a:lnTo>
                    <a:pt x="66931" y="14009"/>
                  </a:lnTo>
                  <a:lnTo>
                    <a:pt x="57157" y="4950"/>
                  </a:lnTo>
                  <a:lnTo>
                    <a:pt x="44889" y="0"/>
                  </a:lnTo>
                  <a:lnTo>
                    <a:pt x="28301" y="1757"/>
                  </a:lnTo>
                  <a:lnTo>
                    <a:pt x="15085" y="7482"/>
                  </a:lnTo>
                  <a:lnTo>
                    <a:pt x="5549" y="16404"/>
                  </a:lnTo>
                  <a:lnTo>
                    <a:pt x="0" y="27753"/>
                  </a:lnTo>
                  <a:lnTo>
                    <a:pt x="1330" y="44999"/>
                  </a:lnTo>
                  <a:lnTo>
                    <a:pt x="6490" y="58646"/>
                  </a:lnTo>
                  <a:lnTo>
                    <a:pt x="14762" y="68537"/>
                  </a:lnTo>
                  <a:lnTo>
                    <a:pt x="25425" y="74518"/>
                  </a:lnTo>
                  <a:lnTo>
                    <a:pt x="37232" y="76435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85" name="object 27"/>
            <p:cNvSpPr>
              <a:spLocks noChangeArrowheads="1"/>
            </p:cNvSpPr>
            <p:nvPr/>
          </p:nvSpPr>
          <p:spPr bwMode="auto">
            <a:xfrm>
              <a:off x="8229600" y="3097213"/>
              <a:ext cx="49213" cy="52387"/>
            </a:xfrm>
            <a:custGeom>
              <a:avLst/>
              <a:gdLst>
                <a:gd name="T0" fmla="*/ 36599 w 48895"/>
                <a:gd name="T1" fmla="*/ 0 h 51435"/>
                <a:gd name="T2" fmla="*/ 18619 w 48895"/>
                <a:gd name="T3" fmla="*/ 1404 h 51435"/>
                <a:gd name="T4" fmla="*/ 6444 w 48895"/>
                <a:gd name="T5" fmla="*/ 8298 h 51435"/>
                <a:gd name="T6" fmla="*/ 0 w 48895"/>
                <a:gd name="T7" fmla="*/ 19134 h 51435"/>
                <a:gd name="T8" fmla="*/ 2146 w 48895"/>
                <a:gd name="T9" fmla="*/ 37663 h 51435"/>
                <a:gd name="T10" fmla="*/ 9546 w 48895"/>
                <a:gd name="T11" fmla="*/ 50183 h 51435"/>
                <a:gd name="T12" fmla="*/ 20651 w 48895"/>
                <a:gd name="T13" fmla="*/ 56421 h 51435"/>
                <a:gd name="T14" fmla="*/ 26498 w 48895"/>
                <a:gd name="T15" fmla="*/ 57106 h 51435"/>
                <a:gd name="T16" fmla="*/ 40609 w 48895"/>
                <a:gd name="T17" fmla="*/ 52954 h 51435"/>
                <a:gd name="T18" fmla="*/ 50555 w 48895"/>
                <a:gd name="T19" fmla="*/ 42059 h 51435"/>
                <a:gd name="T20" fmla="*/ 50401 w 48895"/>
                <a:gd name="T21" fmla="*/ 21703 h 51435"/>
                <a:gd name="T22" fmla="*/ 45315 w 48895"/>
                <a:gd name="T23" fmla="*/ 7832 h 51435"/>
                <a:gd name="T24" fmla="*/ 36599 w 48895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86" name="object 28"/>
            <p:cNvSpPr>
              <a:spLocks noChangeArrowheads="1"/>
            </p:cNvSpPr>
            <p:nvPr/>
          </p:nvSpPr>
          <p:spPr bwMode="auto">
            <a:xfrm>
              <a:off x="8229600" y="3097213"/>
              <a:ext cx="49213" cy="52387"/>
            </a:xfrm>
            <a:custGeom>
              <a:avLst/>
              <a:gdLst>
                <a:gd name="T0" fmla="*/ 26498 w 48895"/>
                <a:gd name="T1" fmla="*/ 57106 h 51435"/>
                <a:gd name="T2" fmla="*/ 40609 w 48895"/>
                <a:gd name="T3" fmla="*/ 52954 h 51435"/>
                <a:gd name="T4" fmla="*/ 50555 w 48895"/>
                <a:gd name="T5" fmla="*/ 42059 h 51435"/>
                <a:gd name="T6" fmla="*/ 50401 w 48895"/>
                <a:gd name="T7" fmla="*/ 21703 h 51435"/>
                <a:gd name="T8" fmla="*/ 45315 w 48895"/>
                <a:gd name="T9" fmla="*/ 7832 h 51435"/>
                <a:gd name="T10" fmla="*/ 36599 w 48895"/>
                <a:gd name="T11" fmla="*/ 0 h 51435"/>
                <a:gd name="T12" fmla="*/ 18619 w 48895"/>
                <a:gd name="T13" fmla="*/ 1404 h 51435"/>
                <a:gd name="T14" fmla="*/ 6444 w 48895"/>
                <a:gd name="T15" fmla="*/ 8298 h 51435"/>
                <a:gd name="T16" fmla="*/ 0 w 48895"/>
                <a:gd name="T17" fmla="*/ 19134 h 51435"/>
                <a:gd name="T18" fmla="*/ 2146 w 48895"/>
                <a:gd name="T19" fmla="*/ 37663 h 51435"/>
                <a:gd name="T20" fmla="*/ 9546 w 48895"/>
                <a:gd name="T21" fmla="*/ 50183 h 51435"/>
                <a:gd name="T22" fmla="*/ 20651 w 48895"/>
                <a:gd name="T23" fmla="*/ 56421 h 51435"/>
                <a:gd name="T24" fmla="*/ 26498 w 48895"/>
                <a:gd name="T25" fmla="*/ 57106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87" name="object 29"/>
            <p:cNvSpPr>
              <a:spLocks noChangeArrowheads="1"/>
            </p:cNvSpPr>
            <p:nvPr/>
          </p:nvSpPr>
          <p:spPr bwMode="auto">
            <a:xfrm>
              <a:off x="8229600" y="4064000"/>
              <a:ext cx="49213" cy="52388"/>
            </a:xfrm>
            <a:custGeom>
              <a:avLst/>
              <a:gdLst>
                <a:gd name="T0" fmla="*/ 36599 w 48895"/>
                <a:gd name="T1" fmla="*/ 0 h 51435"/>
                <a:gd name="T2" fmla="*/ 18619 w 48895"/>
                <a:gd name="T3" fmla="*/ 1404 h 51435"/>
                <a:gd name="T4" fmla="*/ 6444 w 48895"/>
                <a:gd name="T5" fmla="*/ 8299 h 51435"/>
                <a:gd name="T6" fmla="*/ 0 w 48895"/>
                <a:gd name="T7" fmla="*/ 19137 h 51435"/>
                <a:gd name="T8" fmla="*/ 2146 w 48895"/>
                <a:gd name="T9" fmla="*/ 37669 h 51435"/>
                <a:gd name="T10" fmla="*/ 9546 w 48895"/>
                <a:gd name="T11" fmla="*/ 50189 h 51435"/>
                <a:gd name="T12" fmla="*/ 20651 w 48895"/>
                <a:gd name="T13" fmla="*/ 56427 h 51435"/>
                <a:gd name="T14" fmla="*/ 26498 w 48895"/>
                <a:gd name="T15" fmla="*/ 57112 h 51435"/>
                <a:gd name="T16" fmla="*/ 40609 w 48895"/>
                <a:gd name="T17" fmla="*/ 52960 h 51435"/>
                <a:gd name="T18" fmla="*/ 50555 w 48895"/>
                <a:gd name="T19" fmla="*/ 42065 h 51435"/>
                <a:gd name="T20" fmla="*/ 50401 w 48895"/>
                <a:gd name="T21" fmla="*/ 21707 h 51435"/>
                <a:gd name="T22" fmla="*/ 45315 w 48895"/>
                <a:gd name="T23" fmla="*/ 7832 h 51435"/>
                <a:gd name="T24" fmla="*/ 36599 w 48895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88" name="object 30"/>
            <p:cNvSpPr>
              <a:spLocks noChangeArrowheads="1"/>
            </p:cNvSpPr>
            <p:nvPr/>
          </p:nvSpPr>
          <p:spPr bwMode="auto">
            <a:xfrm>
              <a:off x="8229600" y="4064000"/>
              <a:ext cx="49213" cy="52388"/>
            </a:xfrm>
            <a:custGeom>
              <a:avLst/>
              <a:gdLst>
                <a:gd name="T0" fmla="*/ 26498 w 48895"/>
                <a:gd name="T1" fmla="*/ 57112 h 51435"/>
                <a:gd name="T2" fmla="*/ 40609 w 48895"/>
                <a:gd name="T3" fmla="*/ 52960 h 51435"/>
                <a:gd name="T4" fmla="*/ 50555 w 48895"/>
                <a:gd name="T5" fmla="*/ 42065 h 51435"/>
                <a:gd name="T6" fmla="*/ 50401 w 48895"/>
                <a:gd name="T7" fmla="*/ 21707 h 51435"/>
                <a:gd name="T8" fmla="*/ 45315 w 48895"/>
                <a:gd name="T9" fmla="*/ 7832 h 51435"/>
                <a:gd name="T10" fmla="*/ 36599 w 48895"/>
                <a:gd name="T11" fmla="*/ 0 h 51435"/>
                <a:gd name="T12" fmla="*/ 18619 w 48895"/>
                <a:gd name="T13" fmla="*/ 1404 h 51435"/>
                <a:gd name="T14" fmla="*/ 6444 w 48895"/>
                <a:gd name="T15" fmla="*/ 8299 h 51435"/>
                <a:gd name="T16" fmla="*/ 0 w 48895"/>
                <a:gd name="T17" fmla="*/ 19137 h 51435"/>
                <a:gd name="T18" fmla="*/ 2146 w 48895"/>
                <a:gd name="T19" fmla="*/ 37669 h 51435"/>
                <a:gd name="T20" fmla="*/ 9546 w 48895"/>
                <a:gd name="T21" fmla="*/ 50189 h 51435"/>
                <a:gd name="T22" fmla="*/ 20651 w 48895"/>
                <a:gd name="T23" fmla="*/ 56427 h 51435"/>
                <a:gd name="T24" fmla="*/ 26498 w 48895"/>
                <a:gd name="T25" fmla="*/ 57112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grpSp>
        <p:nvGrpSpPr>
          <p:cNvPr id="281605" name="Gruppieren 4"/>
          <p:cNvGrpSpPr>
            <a:grpSpLocks/>
          </p:cNvGrpSpPr>
          <p:nvPr/>
        </p:nvGrpSpPr>
        <p:grpSpPr bwMode="auto">
          <a:xfrm>
            <a:off x="3297238" y="1962150"/>
            <a:ext cx="1277937" cy="3095625"/>
            <a:chOff x="4235450" y="1827213"/>
            <a:chExt cx="1277938" cy="3095625"/>
          </a:xfrm>
        </p:grpSpPr>
        <p:sp>
          <p:nvSpPr>
            <p:cNvPr id="281661" name="object 45"/>
            <p:cNvSpPr>
              <a:spLocks noChangeArrowheads="1"/>
            </p:cNvSpPr>
            <p:nvPr/>
          </p:nvSpPr>
          <p:spPr bwMode="auto">
            <a:xfrm>
              <a:off x="4235450" y="1827213"/>
              <a:ext cx="1277938" cy="1085850"/>
            </a:xfrm>
            <a:prstGeom prst="rect">
              <a:avLst/>
            </a:prstGeom>
            <a:blipFill dpi="0" rotWithShape="1"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62" name="object 46"/>
            <p:cNvSpPr>
              <a:spLocks noChangeArrowheads="1"/>
            </p:cNvSpPr>
            <p:nvPr/>
          </p:nvSpPr>
          <p:spPr bwMode="auto">
            <a:xfrm>
              <a:off x="4694238" y="2530475"/>
              <a:ext cx="0" cy="2273300"/>
            </a:xfrm>
            <a:custGeom>
              <a:avLst/>
              <a:gdLst>
                <a:gd name="T0" fmla="*/ 0 h 2273300"/>
                <a:gd name="T1" fmla="*/ 2272766 h 2273300"/>
                <a:gd name="T2" fmla="*/ 0 60000 65536"/>
                <a:gd name="T3" fmla="*/ 0 60000 65536"/>
                <a:gd name="T4" fmla="*/ 0 h 2273300"/>
                <a:gd name="T5" fmla="*/ 2273300 h 2273300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T4" r="0" b="T5"/>
              <a:pathLst>
                <a:path h="2273300">
                  <a:moveTo>
                    <a:pt x="0" y="0"/>
                  </a:moveTo>
                  <a:lnTo>
                    <a:pt x="0" y="2272766"/>
                  </a:lnTo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63" name="object 47"/>
            <p:cNvSpPr>
              <a:spLocks noChangeArrowheads="1"/>
            </p:cNvSpPr>
            <p:nvPr/>
          </p:nvSpPr>
          <p:spPr bwMode="auto">
            <a:xfrm>
              <a:off x="4283075" y="4098925"/>
              <a:ext cx="823913" cy="823913"/>
            </a:xfrm>
            <a:custGeom>
              <a:avLst/>
              <a:gdLst>
                <a:gd name="T0" fmla="*/ 410900 w 824229"/>
                <a:gd name="T1" fmla="*/ 0 h 824229"/>
                <a:gd name="T2" fmla="*/ 344252 w 824229"/>
                <a:gd name="T3" fmla="*/ 5378 h 824229"/>
                <a:gd name="T4" fmla="*/ 281024 w 824229"/>
                <a:gd name="T5" fmla="*/ 20948 h 824229"/>
                <a:gd name="T6" fmla="*/ 222070 w 824229"/>
                <a:gd name="T7" fmla="*/ 45861 h 824229"/>
                <a:gd name="T8" fmla="*/ 168226 w 824229"/>
                <a:gd name="T9" fmla="*/ 79282 h 824229"/>
                <a:gd name="T10" fmla="*/ 120351 w 824229"/>
                <a:gd name="T11" fmla="*/ 120350 h 824229"/>
                <a:gd name="T12" fmla="*/ 79282 w 824229"/>
                <a:gd name="T13" fmla="*/ 168223 h 824229"/>
                <a:gd name="T14" fmla="*/ 45861 w 824229"/>
                <a:gd name="T15" fmla="*/ 222066 h 824229"/>
                <a:gd name="T16" fmla="*/ 20948 w 824229"/>
                <a:gd name="T17" fmla="*/ 281018 h 824229"/>
                <a:gd name="T18" fmla="*/ 5378 w 824229"/>
                <a:gd name="T19" fmla="*/ 344243 h 824229"/>
                <a:gd name="T20" fmla="*/ 0 w 824229"/>
                <a:gd name="T21" fmla="*/ 410887 h 824229"/>
                <a:gd name="T22" fmla="*/ 1359 w 824229"/>
                <a:gd name="T23" fmla="*/ 444587 h 824229"/>
                <a:gd name="T24" fmla="*/ 11939 w 824229"/>
                <a:gd name="T25" fmla="*/ 509632 h 824229"/>
                <a:gd name="T26" fmla="*/ 32293 w 824229"/>
                <a:gd name="T27" fmla="*/ 570831 h 824229"/>
                <a:gd name="T28" fmla="*/ 61560 w 824229"/>
                <a:gd name="T29" fmla="*/ 627333 h 824229"/>
                <a:gd name="T30" fmla="*/ 98911 w 824229"/>
                <a:gd name="T31" fmla="*/ 678299 h 824229"/>
                <a:gd name="T32" fmla="*/ 143492 w 824229"/>
                <a:gd name="T33" fmla="*/ 722879 h 824229"/>
                <a:gd name="T34" fmla="*/ 194454 w 824229"/>
                <a:gd name="T35" fmla="*/ 760227 h 824229"/>
                <a:gd name="T36" fmla="*/ 250962 w 824229"/>
                <a:gd name="T37" fmla="*/ 789500 h 824229"/>
                <a:gd name="T38" fmla="*/ 312156 w 824229"/>
                <a:gd name="T39" fmla="*/ 809848 h 824229"/>
                <a:gd name="T40" fmla="*/ 377200 w 824229"/>
                <a:gd name="T41" fmla="*/ 820428 h 824229"/>
                <a:gd name="T42" fmla="*/ 410900 w 824229"/>
                <a:gd name="T43" fmla="*/ 821790 h 824229"/>
                <a:gd name="T44" fmla="*/ 444600 w 824229"/>
                <a:gd name="T45" fmla="*/ 820428 h 824229"/>
                <a:gd name="T46" fmla="*/ 509645 w 824229"/>
                <a:gd name="T47" fmla="*/ 809848 h 824229"/>
                <a:gd name="T48" fmla="*/ 570844 w 824229"/>
                <a:gd name="T49" fmla="*/ 789500 h 824229"/>
                <a:gd name="T50" fmla="*/ 627346 w 824229"/>
                <a:gd name="T51" fmla="*/ 760227 h 824229"/>
                <a:gd name="T52" fmla="*/ 678312 w 824229"/>
                <a:gd name="T53" fmla="*/ 722879 h 824229"/>
                <a:gd name="T54" fmla="*/ 722892 w 824229"/>
                <a:gd name="T55" fmla="*/ 678299 h 824229"/>
                <a:gd name="T56" fmla="*/ 760240 w 824229"/>
                <a:gd name="T57" fmla="*/ 627333 h 824229"/>
                <a:gd name="T58" fmla="*/ 789513 w 824229"/>
                <a:gd name="T59" fmla="*/ 570831 h 824229"/>
                <a:gd name="T60" fmla="*/ 809861 w 824229"/>
                <a:gd name="T61" fmla="*/ 509632 h 824229"/>
                <a:gd name="T62" fmla="*/ 820441 w 824229"/>
                <a:gd name="T63" fmla="*/ 444587 h 824229"/>
                <a:gd name="T64" fmla="*/ 821803 w 824229"/>
                <a:gd name="T65" fmla="*/ 410887 h 824229"/>
                <a:gd name="T66" fmla="*/ 820441 w 824229"/>
                <a:gd name="T67" fmla="*/ 377189 h 824229"/>
                <a:gd name="T68" fmla="*/ 809861 w 824229"/>
                <a:gd name="T69" fmla="*/ 312148 h 824229"/>
                <a:gd name="T70" fmla="*/ 789513 w 824229"/>
                <a:gd name="T71" fmla="*/ 250957 h 824229"/>
                <a:gd name="T72" fmla="*/ 760240 w 824229"/>
                <a:gd name="T73" fmla="*/ 194450 h 824229"/>
                <a:gd name="T74" fmla="*/ 722892 w 824229"/>
                <a:gd name="T75" fmla="*/ 143489 h 824229"/>
                <a:gd name="T76" fmla="*/ 678312 w 824229"/>
                <a:gd name="T77" fmla="*/ 98910 h 824229"/>
                <a:gd name="T78" fmla="*/ 627346 w 824229"/>
                <a:gd name="T79" fmla="*/ 61559 h 824229"/>
                <a:gd name="T80" fmla="*/ 570844 w 824229"/>
                <a:gd name="T81" fmla="*/ 32292 h 824229"/>
                <a:gd name="T82" fmla="*/ 509645 w 824229"/>
                <a:gd name="T83" fmla="*/ 11939 h 824229"/>
                <a:gd name="T84" fmla="*/ 444600 w 824229"/>
                <a:gd name="T85" fmla="*/ 1359 h 824229"/>
                <a:gd name="T86" fmla="*/ 410900 w 824229"/>
                <a:gd name="T87" fmla="*/ 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29"/>
                <a:gd name="T133" fmla="*/ 0 h 824229"/>
                <a:gd name="T134" fmla="*/ 824229 w 824229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29" h="824229">
                  <a:moveTo>
                    <a:pt x="411848" y="0"/>
                  </a:moveTo>
                  <a:lnTo>
                    <a:pt x="345044" y="5390"/>
                  </a:lnTo>
                  <a:lnTo>
                    <a:pt x="281672" y="20996"/>
                  </a:lnTo>
                  <a:lnTo>
                    <a:pt x="222580" y="45969"/>
                  </a:lnTo>
                  <a:lnTo>
                    <a:pt x="168616" y="79462"/>
                  </a:lnTo>
                  <a:lnTo>
                    <a:pt x="120627" y="120626"/>
                  </a:lnTo>
                  <a:lnTo>
                    <a:pt x="79462" y="168613"/>
                  </a:lnTo>
                  <a:lnTo>
                    <a:pt x="45969" y="222576"/>
                  </a:lnTo>
                  <a:lnTo>
                    <a:pt x="20996" y="281666"/>
                  </a:lnTo>
                  <a:lnTo>
                    <a:pt x="5390" y="345035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lnTo>
                    <a:pt x="445626" y="822318"/>
                  </a:lnTo>
                  <a:lnTo>
                    <a:pt x="510820" y="811714"/>
                  </a:lnTo>
                  <a:lnTo>
                    <a:pt x="572158" y="791318"/>
                  </a:lnTo>
                  <a:lnTo>
                    <a:pt x="628792" y="761979"/>
                  </a:lnTo>
                  <a:lnTo>
                    <a:pt x="679874" y="724544"/>
                  </a:lnTo>
                  <a:lnTo>
                    <a:pt x="724557" y="679861"/>
                  </a:lnTo>
                  <a:lnTo>
                    <a:pt x="761992" y="628779"/>
                  </a:lnTo>
                  <a:lnTo>
                    <a:pt x="791331" y="572145"/>
                  </a:lnTo>
                  <a:lnTo>
                    <a:pt x="811727" y="510807"/>
                  </a:lnTo>
                  <a:lnTo>
                    <a:pt x="822331" y="445613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64" name="object 48"/>
            <p:cNvSpPr>
              <a:spLocks noChangeArrowheads="1"/>
            </p:cNvSpPr>
            <p:nvPr/>
          </p:nvSpPr>
          <p:spPr bwMode="auto">
            <a:xfrm>
              <a:off x="4283075" y="4098925"/>
              <a:ext cx="823913" cy="788988"/>
            </a:xfrm>
            <a:prstGeom prst="rect">
              <a:avLst/>
            </a:prstGeom>
            <a:blipFill dpi="0" rotWithShape="1"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65" name="object 49"/>
            <p:cNvSpPr>
              <a:spLocks noChangeArrowheads="1"/>
            </p:cNvSpPr>
            <p:nvPr/>
          </p:nvSpPr>
          <p:spPr bwMode="auto">
            <a:xfrm>
              <a:off x="4283075" y="4098925"/>
              <a:ext cx="823913" cy="823913"/>
            </a:xfrm>
            <a:custGeom>
              <a:avLst/>
              <a:gdLst>
                <a:gd name="T0" fmla="*/ 410900 w 824229"/>
                <a:gd name="T1" fmla="*/ 821790 h 824229"/>
                <a:gd name="T2" fmla="*/ 477553 w 824229"/>
                <a:gd name="T3" fmla="*/ 816413 h 824229"/>
                <a:gd name="T4" fmla="*/ 540779 w 824229"/>
                <a:gd name="T5" fmla="*/ 800842 h 824229"/>
                <a:gd name="T6" fmla="*/ 599736 w 824229"/>
                <a:gd name="T7" fmla="*/ 775926 h 824229"/>
                <a:gd name="T8" fmla="*/ 653574 w 824229"/>
                <a:gd name="T9" fmla="*/ 742510 h 824229"/>
                <a:gd name="T10" fmla="*/ 701453 w 824229"/>
                <a:gd name="T11" fmla="*/ 701441 h 824229"/>
                <a:gd name="T12" fmla="*/ 742523 w 824229"/>
                <a:gd name="T13" fmla="*/ 653561 h 824229"/>
                <a:gd name="T14" fmla="*/ 775938 w 824229"/>
                <a:gd name="T15" fmla="*/ 599723 h 824229"/>
                <a:gd name="T16" fmla="*/ 800855 w 824229"/>
                <a:gd name="T17" fmla="*/ 540766 h 824229"/>
                <a:gd name="T18" fmla="*/ 816426 w 824229"/>
                <a:gd name="T19" fmla="*/ 477540 h 824229"/>
                <a:gd name="T20" fmla="*/ 821803 w 824229"/>
                <a:gd name="T21" fmla="*/ 410887 h 824229"/>
                <a:gd name="T22" fmla="*/ 820441 w 824229"/>
                <a:gd name="T23" fmla="*/ 377189 h 824229"/>
                <a:gd name="T24" fmla="*/ 809861 w 824229"/>
                <a:gd name="T25" fmla="*/ 312148 h 824229"/>
                <a:gd name="T26" fmla="*/ 789513 w 824229"/>
                <a:gd name="T27" fmla="*/ 250957 h 824229"/>
                <a:gd name="T28" fmla="*/ 760240 w 824229"/>
                <a:gd name="T29" fmla="*/ 194450 h 824229"/>
                <a:gd name="T30" fmla="*/ 722892 w 824229"/>
                <a:gd name="T31" fmla="*/ 143489 h 824229"/>
                <a:gd name="T32" fmla="*/ 678312 w 824229"/>
                <a:gd name="T33" fmla="*/ 98910 h 824229"/>
                <a:gd name="T34" fmla="*/ 627346 w 824229"/>
                <a:gd name="T35" fmla="*/ 61559 h 824229"/>
                <a:gd name="T36" fmla="*/ 570844 w 824229"/>
                <a:gd name="T37" fmla="*/ 32292 h 824229"/>
                <a:gd name="T38" fmla="*/ 509645 w 824229"/>
                <a:gd name="T39" fmla="*/ 11939 h 824229"/>
                <a:gd name="T40" fmla="*/ 444600 w 824229"/>
                <a:gd name="T41" fmla="*/ 1359 h 824229"/>
                <a:gd name="T42" fmla="*/ 410900 w 824229"/>
                <a:gd name="T43" fmla="*/ 0 h 824229"/>
                <a:gd name="T44" fmla="*/ 377200 w 824229"/>
                <a:gd name="T45" fmla="*/ 1359 h 824229"/>
                <a:gd name="T46" fmla="*/ 312156 w 824229"/>
                <a:gd name="T47" fmla="*/ 11939 h 824229"/>
                <a:gd name="T48" fmla="*/ 250962 w 824229"/>
                <a:gd name="T49" fmla="*/ 32292 h 824229"/>
                <a:gd name="T50" fmla="*/ 194454 w 824229"/>
                <a:gd name="T51" fmla="*/ 61559 h 824229"/>
                <a:gd name="T52" fmla="*/ 143492 w 824229"/>
                <a:gd name="T53" fmla="*/ 98910 h 824229"/>
                <a:gd name="T54" fmla="*/ 98911 w 824229"/>
                <a:gd name="T55" fmla="*/ 143489 h 824229"/>
                <a:gd name="T56" fmla="*/ 61560 w 824229"/>
                <a:gd name="T57" fmla="*/ 194450 h 824229"/>
                <a:gd name="T58" fmla="*/ 32293 w 824229"/>
                <a:gd name="T59" fmla="*/ 250957 h 824229"/>
                <a:gd name="T60" fmla="*/ 11939 w 824229"/>
                <a:gd name="T61" fmla="*/ 312148 h 824229"/>
                <a:gd name="T62" fmla="*/ 1359 w 824229"/>
                <a:gd name="T63" fmla="*/ 377189 h 824229"/>
                <a:gd name="T64" fmla="*/ 0 w 824229"/>
                <a:gd name="T65" fmla="*/ 410887 h 824229"/>
                <a:gd name="T66" fmla="*/ 1359 w 824229"/>
                <a:gd name="T67" fmla="*/ 444587 h 824229"/>
                <a:gd name="T68" fmla="*/ 11939 w 824229"/>
                <a:gd name="T69" fmla="*/ 509632 h 824229"/>
                <a:gd name="T70" fmla="*/ 32293 w 824229"/>
                <a:gd name="T71" fmla="*/ 570831 h 824229"/>
                <a:gd name="T72" fmla="*/ 61560 w 824229"/>
                <a:gd name="T73" fmla="*/ 627333 h 824229"/>
                <a:gd name="T74" fmla="*/ 98911 w 824229"/>
                <a:gd name="T75" fmla="*/ 678299 h 824229"/>
                <a:gd name="T76" fmla="*/ 143492 w 824229"/>
                <a:gd name="T77" fmla="*/ 722879 h 824229"/>
                <a:gd name="T78" fmla="*/ 194454 w 824229"/>
                <a:gd name="T79" fmla="*/ 760227 h 824229"/>
                <a:gd name="T80" fmla="*/ 250962 w 824229"/>
                <a:gd name="T81" fmla="*/ 789500 h 824229"/>
                <a:gd name="T82" fmla="*/ 312156 w 824229"/>
                <a:gd name="T83" fmla="*/ 809848 h 824229"/>
                <a:gd name="T84" fmla="*/ 377200 w 824229"/>
                <a:gd name="T85" fmla="*/ 820428 h 824229"/>
                <a:gd name="T86" fmla="*/ 410900 w 824229"/>
                <a:gd name="T87" fmla="*/ 82179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29"/>
                <a:gd name="T133" fmla="*/ 0 h 824229"/>
                <a:gd name="T134" fmla="*/ 824229 w 824229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29" h="824229">
                  <a:moveTo>
                    <a:pt x="411848" y="823683"/>
                  </a:moveTo>
                  <a:lnTo>
                    <a:pt x="478652" y="818293"/>
                  </a:lnTo>
                  <a:lnTo>
                    <a:pt x="542024" y="802687"/>
                  </a:lnTo>
                  <a:lnTo>
                    <a:pt x="601116" y="777714"/>
                  </a:lnTo>
                  <a:lnTo>
                    <a:pt x="655080" y="744220"/>
                  </a:lnTo>
                  <a:lnTo>
                    <a:pt x="703068" y="703056"/>
                  </a:lnTo>
                  <a:lnTo>
                    <a:pt x="744233" y="655067"/>
                  </a:lnTo>
                  <a:lnTo>
                    <a:pt x="777726" y="601103"/>
                  </a:lnTo>
                  <a:lnTo>
                    <a:pt x="802700" y="542011"/>
                  </a:lnTo>
                  <a:lnTo>
                    <a:pt x="818306" y="478639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lnTo>
                    <a:pt x="378070" y="1365"/>
                  </a:lnTo>
                  <a:lnTo>
                    <a:pt x="312876" y="11969"/>
                  </a:lnTo>
                  <a:lnTo>
                    <a:pt x="251538" y="32364"/>
                  </a:lnTo>
                  <a:lnTo>
                    <a:pt x="194904" y="61703"/>
                  </a:lnTo>
                  <a:lnTo>
                    <a:pt x="143822" y="99138"/>
                  </a:lnTo>
                  <a:lnTo>
                    <a:pt x="99139" y="143819"/>
                  </a:lnTo>
                  <a:lnTo>
                    <a:pt x="61704" y="194900"/>
                  </a:lnTo>
                  <a:lnTo>
                    <a:pt x="32365" y="251533"/>
                  </a:lnTo>
                  <a:lnTo>
                    <a:pt x="11969" y="312868"/>
                  </a:lnTo>
                  <a:lnTo>
                    <a:pt x="1365" y="378059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66" name="object 50"/>
            <p:cNvSpPr>
              <a:spLocks noChangeArrowheads="1"/>
            </p:cNvSpPr>
            <p:nvPr/>
          </p:nvSpPr>
          <p:spPr bwMode="auto">
            <a:xfrm>
              <a:off x="4340225" y="3132138"/>
              <a:ext cx="709613" cy="709612"/>
            </a:xfrm>
            <a:custGeom>
              <a:avLst/>
              <a:gdLst>
                <a:gd name="T0" fmla="*/ 357083 w 708660"/>
                <a:gd name="T1" fmla="*/ 0 h 708660"/>
                <a:gd name="T2" fmla="*/ 299162 w 708660"/>
                <a:gd name="T3" fmla="*/ 4672 h 708660"/>
                <a:gd name="T4" fmla="*/ 244217 w 708660"/>
                <a:gd name="T5" fmla="*/ 18203 h 708660"/>
                <a:gd name="T6" fmla="*/ 192980 w 708660"/>
                <a:gd name="T7" fmla="*/ 39856 h 708660"/>
                <a:gd name="T8" fmla="*/ 146193 w 708660"/>
                <a:gd name="T9" fmla="*/ 68897 h 708660"/>
                <a:gd name="T10" fmla="*/ 104586 w 708660"/>
                <a:gd name="T11" fmla="*/ 104590 h 708660"/>
                <a:gd name="T12" fmla="*/ 68895 w 708660"/>
                <a:gd name="T13" fmla="*/ 146197 h 708660"/>
                <a:gd name="T14" fmla="*/ 39855 w 708660"/>
                <a:gd name="T15" fmla="*/ 192986 h 708660"/>
                <a:gd name="T16" fmla="*/ 18201 w 708660"/>
                <a:gd name="T17" fmla="*/ 244218 h 708660"/>
                <a:gd name="T18" fmla="*/ 4672 w 708660"/>
                <a:gd name="T19" fmla="*/ 299162 h 708660"/>
                <a:gd name="T20" fmla="*/ 0 w 708660"/>
                <a:gd name="T21" fmla="*/ 357079 h 708660"/>
                <a:gd name="T22" fmla="*/ 1186 w 708660"/>
                <a:gd name="T23" fmla="*/ 386367 h 708660"/>
                <a:gd name="T24" fmla="*/ 10378 w 708660"/>
                <a:gd name="T25" fmla="*/ 442891 h 708660"/>
                <a:gd name="T26" fmla="*/ 28061 w 708660"/>
                <a:gd name="T27" fmla="*/ 496073 h 708660"/>
                <a:gd name="T28" fmla="*/ 53498 w 708660"/>
                <a:gd name="T29" fmla="*/ 545174 h 708660"/>
                <a:gd name="T30" fmla="*/ 85955 w 708660"/>
                <a:gd name="T31" fmla="*/ 589467 h 708660"/>
                <a:gd name="T32" fmla="*/ 124695 w 708660"/>
                <a:gd name="T33" fmla="*/ 628206 h 708660"/>
                <a:gd name="T34" fmla="*/ 168985 w 708660"/>
                <a:gd name="T35" fmla="*/ 660662 h 708660"/>
                <a:gd name="T36" fmla="*/ 218088 w 708660"/>
                <a:gd name="T37" fmla="*/ 686099 h 708660"/>
                <a:gd name="T38" fmla="*/ 271270 w 708660"/>
                <a:gd name="T39" fmla="*/ 703783 h 708660"/>
                <a:gd name="T40" fmla="*/ 327796 w 708660"/>
                <a:gd name="T41" fmla="*/ 712977 h 708660"/>
                <a:gd name="T42" fmla="*/ 357083 w 708660"/>
                <a:gd name="T43" fmla="*/ 714161 h 708660"/>
                <a:gd name="T44" fmla="*/ 386369 w 708660"/>
                <a:gd name="T45" fmla="*/ 712977 h 708660"/>
                <a:gd name="T46" fmla="*/ 442895 w 708660"/>
                <a:gd name="T47" fmla="*/ 703783 h 708660"/>
                <a:gd name="T48" fmla="*/ 496077 w 708660"/>
                <a:gd name="T49" fmla="*/ 686099 h 708660"/>
                <a:gd name="T50" fmla="*/ 545179 w 708660"/>
                <a:gd name="T51" fmla="*/ 660662 h 708660"/>
                <a:gd name="T52" fmla="*/ 589470 w 708660"/>
                <a:gd name="T53" fmla="*/ 628206 h 708660"/>
                <a:gd name="T54" fmla="*/ 628211 w 708660"/>
                <a:gd name="T55" fmla="*/ 589467 h 708660"/>
                <a:gd name="T56" fmla="*/ 660668 w 708660"/>
                <a:gd name="T57" fmla="*/ 545174 h 708660"/>
                <a:gd name="T58" fmla="*/ 686104 w 708660"/>
                <a:gd name="T59" fmla="*/ 496073 h 708660"/>
                <a:gd name="T60" fmla="*/ 703789 w 708660"/>
                <a:gd name="T61" fmla="*/ 442891 h 708660"/>
                <a:gd name="T62" fmla="*/ 712983 w 708660"/>
                <a:gd name="T63" fmla="*/ 386367 h 708660"/>
                <a:gd name="T64" fmla="*/ 714167 w 708660"/>
                <a:gd name="T65" fmla="*/ 357079 h 708660"/>
                <a:gd name="T66" fmla="*/ 712983 w 708660"/>
                <a:gd name="T67" fmla="*/ 327795 h 708660"/>
                <a:gd name="T68" fmla="*/ 703789 w 708660"/>
                <a:gd name="T69" fmla="*/ 271271 h 708660"/>
                <a:gd name="T70" fmla="*/ 686104 w 708660"/>
                <a:gd name="T71" fmla="*/ 218093 h 708660"/>
                <a:gd name="T72" fmla="*/ 660668 w 708660"/>
                <a:gd name="T73" fmla="*/ 168989 h 708660"/>
                <a:gd name="T74" fmla="*/ 628211 w 708660"/>
                <a:gd name="T75" fmla="*/ 124699 h 708660"/>
                <a:gd name="T76" fmla="*/ 589470 w 708660"/>
                <a:gd name="T77" fmla="*/ 85959 h 708660"/>
                <a:gd name="T78" fmla="*/ 545179 w 708660"/>
                <a:gd name="T79" fmla="*/ 53500 h 708660"/>
                <a:gd name="T80" fmla="*/ 496077 w 708660"/>
                <a:gd name="T81" fmla="*/ 28062 h 708660"/>
                <a:gd name="T82" fmla="*/ 442895 w 708660"/>
                <a:gd name="T83" fmla="*/ 10379 h 708660"/>
                <a:gd name="T84" fmla="*/ 386369 w 708660"/>
                <a:gd name="T85" fmla="*/ 1186 h 708660"/>
                <a:gd name="T86" fmla="*/ 357083 w 708660"/>
                <a:gd name="T87" fmla="*/ 0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60"/>
                <a:gd name="T133" fmla="*/ 0 h 708660"/>
                <a:gd name="T134" fmla="*/ 708660 w 708660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60" h="708660">
                  <a:moveTo>
                    <a:pt x="354215" y="0"/>
                  </a:moveTo>
                  <a:lnTo>
                    <a:pt x="296759" y="4636"/>
                  </a:lnTo>
                  <a:lnTo>
                    <a:pt x="242255" y="18059"/>
                  </a:lnTo>
                  <a:lnTo>
                    <a:pt x="191431" y="39538"/>
                  </a:lnTo>
                  <a:lnTo>
                    <a:pt x="145019" y="68345"/>
                  </a:lnTo>
                  <a:lnTo>
                    <a:pt x="103746" y="103751"/>
                  </a:lnTo>
                  <a:lnTo>
                    <a:pt x="68342" y="145024"/>
                  </a:lnTo>
                  <a:lnTo>
                    <a:pt x="39536" y="191437"/>
                  </a:lnTo>
                  <a:lnTo>
                    <a:pt x="18057" y="242259"/>
                  </a:lnTo>
                  <a:lnTo>
                    <a:pt x="4636" y="296762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lnTo>
                    <a:pt x="383267" y="707257"/>
                  </a:lnTo>
                  <a:lnTo>
                    <a:pt x="439338" y="698137"/>
                  </a:lnTo>
                  <a:lnTo>
                    <a:pt x="492093" y="680595"/>
                  </a:lnTo>
                  <a:lnTo>
                    <a:pt x="540802" y="655362"/>
                  </a:lnTo>
                  <a:lnTo>
                    <a:pt x="584736" y="623166"/>
                  </a:lnTo>
                  <a:lnTo>
                    <a:pt x="623166" y="584736"/>
                  </a:lnTo>
                  <a:lnTo>
                    <a:pt x="655362" y="540802"/>
                  </a:lnTo>
                  <a:lnTo>
                    <a:pt x="680595" y="492093"/>
                  </a:lnTo>
                  <a:lnTo>
                    <a:pt x="698137" y="439338"/>
                  </a:lnTo>
                  <a:lnTo>
                    <a:pt x="707257" y="383267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67" name="object 51"/>
            <p:cNvSpPr>
              <a:spLocks noChangeArrowheads="1"/>
            </p:cNvSpPr>
            <p:nvPr/>
          </p:nvSpPr>
          <p:spPr bwMode="auto">
            <a:xfrm>
              <a:off x="4340225" y="3132138"/>
              <a:ext cx="709613" cy="709612"/>
            </a:xfrm>
            <a:prstGeom prst="rect">
              <a:avLst/>
            </a:prstGeom>
            <a:blipFill dpi="0" rotWithShape="1"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68" name="object 52"/>
            <p:cNvSpPr>
              <a:spLocks noChangeArrowheads="1"/>
            </p:cNvSpPr>
            <p:nvPr/>
          </p:nvSpPr>
          <p:spPr bwMode="auto">
            <a:xfrm>
              <a:off x="4340225" y="3132138"/>
              <a:ext cx="709613" cy="709612"/>
            </a:xfrm>
            <a:custGeom>
              <a:avLst/>
              <a:gdLst>
                <a:gd name="T0" fmla="*/ 357083 w 708660"/>
                <a:gd name="T1" fmla="*/ 714161 h 708660"/>
                <a:gd name="T2" fmla="*/ 415005 w 708660"/>
                <a:gd name="T3" fmla="*/ 709487 h 708660"/>
                <a:gd name="T4" fmla="*/ 469950 w 708660"/>
                <a:gd name="T5" fmla="*/ 695956 h 708660"/>
                <a:gd name="T6" fmla="*/ 521184 w 708660"/>
                <a:gd name="T7" fmla="*/ 674305 h 708660"/>
                <a:gd name="T8" fmla="*/ 567975 w 708660"/>
                <a:gd name="T9" fmla="*/ 645266 h 708660"/>
                <a:gd name="T10" fmla="*/ 609580 w 708660"/>
                <a:gd name="T11" fmla="*/ 609576 h 708660"/>
                <a:gd name="T12" fmla="*/ 645271 w 708660"/>
                <a:gd name="T13" fmla="*/ 567969 h 708660"/>
                <a:gd name="T14" fmla="*/ 674311 w 708660"/>
                <a:gd name="T15" fmla="*/ 521179 h 708660"/>
                <a:gd name="T16" fmla="*/ 695962 w 708660"/>
                <a:gd name="T17" fmla="*/ 469946 h 708660"/>
                <a:gd name="T18" fmla="*/ 709493 w 708660"/>
                <a:gd name="T19" fmla="*/ 415002 h 708660"/>
                <a:gd name="T20" fmla="*/ 714167 w 708660"/>
                <a:gd name="T21" fmla="*/ 357079 h 708660"/>
                <a:gd name="T22" fmla="*/ 712983 w 708660"/>
                <a:gd name="T23" fmla="*/ 327795 h 708660"/>
                <a:gd name="T24" fmla="*/ 703789 w 708660"/>
                <a:gd name="T25" fmla="*/ 271271 h 708660"/>
                <a:gd name="T26" fmla="*/ 686104 w 708660"/>
                <a:gd name="T27" fmla="*/ 218093 h 708660"/>
                <a:gd name="T28" fmla="*/ 660668 w 708660"/>
                <a:gd name="T29" fmla="*/ 168989 h 708660"/>
                <a:gd name="T30" fmla="*/ 628211 w 708660"/>
                <a:gd name="T31" fmla="*/ 124699 h 708660"/>
                <a:gd name="T32" fmla="*/ 589470 w 708660"/>
                <a:gd name="T33" fmla="*/ 85959 h 708660"/>
                <a:gd name="T34" fmla="*/ 545179 w 708660"/>
                <a:gd name="T35" fmla="*/ 53500 h 708660"/>
                <a:gd name="T36" fmla="*/ 496077 w 708660"/>
                <a:gd name="T37" fmla="*/ 28062 h 708660"/>
                <a:gd name="T38" fmla="*/ 442895 w 708660"/>
                <a:gd name="T39" fmla="*/ 10379 h 708660"/>
                <a:gd name="T40" fmla="*/ 386369 w 708660"/>
                <a:gd name="T41" fmla="*/ 1186 h 708660"/>
                <a:gd name="T42" fmla="*/ 357083 w 708660"/>
                <a:gd name="T43" fmla="*/ 0 h 708660"/>
                <a:gd name="T44" fmla="*/ 327796 w 708660"/>
                <a:gd name="T45" fmla="*/ 1186 h 708660"/>
                <a:gd name="T46" fmla="*/ 271270 w 708660"/>
                <a:gd name="T47" fmla="*/ 10379 h 708660"/>
                <a:gd name="T48" fmla="*/ 218088 w 708660"/>
                <a:gd name="T49" fmla="*/ 28062 h 708660"/>
                <a:gd name="T50" fmla="*/ 168985 w 708660"/>
                <a:gd name="T51" fmla="*/ 53500 h 708660"/>
                <a:gd name="T52" fmla="*/ 124695 w 708660"/>
                <a:gd name="T53" fmla="*/ 85959 h 708660"/>
                <a:gd name="T54" fmla="*/ 85955 w 708660"/>
                <a:gd name="T55" fmla="*/ 124699 h 708660"/>
                <a:gd name="T56" fmla="*/ 53498 w 708660"/>
                <a:gd name="T57" fmla="*/ 168989 h 708660"/>
                <a:gd name="T58" fmla="*/ 28061 w 708660"/>
                <a:gd name="T59" fmla="*/ 218093 h 708660"/>
                <a:gd name="T60" fmla="*/ 10378 w 708660"/>
                <a:gd name="T61" fmla="*/ 271271 h 708660"/>
                <a:gd name="T62" fmla="*/ 1186 w 708660"/>
                <a:gd name="T63" fmla="*/ 327795 h 708660"/>
                <a:gd name="T64" fmla="*/ 0 w 708660"/>
                <a:gd name="T65" fmla="*/ 357079 h 708660"/>
                <a:gd name="T66" fmla="*/ 1186 w 708660"/>
                <a:gd name="T67" fmla="*/ 386367 h 708660"/>
                <a:gd name="T68" fmla="*/ 10378 w 708660"/>
                <a:gd name="T69" fmla="*/ 442891 h 708660"/>
                <a:gd name="T70" fmla="*/ 28061 w 708660"/>
                <a:gd name="T71" fmla="*/ 496073 h 708660"/>
                <a:gd name="T72" fmla="*/ 53498 w 708660"/>
                <a:gd name="T73" fmla="*/ 545174 h 708660"/>
                <a:gd name="T74" fmla="*/ 85955 w 708660"/>
                <a:gd name="T75" fmla="*/ 589467 h 708660"/>
                <a:gd name="T76" fmla="*/ 124695 w 708660"/>
                <a:gd name="T77" fmla="*/ 628206 h 708660"/>
                <a:gd name="T78" fmla="*/ 168985 w 708660"/>
                <a:gd name="T79" fmla="*/ 660662 h 708660"/>
                <a:gd name="T80" fmla="*/ 218088 w 708660"/>
                <a:gd name="T81" fmla="*/ 686099 h 708660"/>
                <a:gd name="T82" fmla="*/ 271270 w 708660"/>
                <a:gd name="T83" fmla="*/ 703783 h 708660"/>
                <a:gd name="T84" fmla="*/ 327796 w 708660"/>
                <a:gd name="T85" fmla="*/ 712977 h 708660"/>
                <a:gd name="T86" fmla="*/ 357083 w 708660"/>
                <a:gd name="T87" fmla="*/ 714161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60"/>
                <a:gd name="T133" fmla="*/ 0 h 708660"/>
                <a:gd name="T134" fmla="*/ 708660 w 708660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60" h="708660">
                  <a:moveTo>
                    <a:pt x="354215" y="708431"/>
                  </a:moveTo>
                  <a:lnTo>
                    <a:pt x="411672" y="703795"/>
                  </a:lnTo>
                  <a:lnTo>
                    <a:pt x="466176" y="690373"/>
                  </a:lnTo>
                  <a:lnTo>
                    <a:pt x="516999" y="668895"/>
                  </a:lnTo>
                  <a:lnTo>
                    <a:pt x="563412" y="640089"/>
                  </a:lnTo>
                  <a:lnTo>
                    <a:pt x="604685" y="604685"/>
                  </a:lnTo>
                  <a:lnTo>
                    <a:pt x="640089" y="563412"/>
                  </a:lnTo>
                  <a:lnTo>
                    <a:pt x="668895" y="516999"/>
                  </a:lnTo>
                  <a:lnTo>
                    <a:pt x="690373" y="466176"/>
                  </a:lnTo>
                  <a:lnTo>
                    <a:pt x="703795" y="411672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lnTo>
                    <a:pt x="325164" y="1174"/>
                  </a:lnTo>
                  <a:lnTo>
                    <a:pt x="269092" y="10295"/>
                  </a:lnTo>
                  <a:lnTo>
                    <a:pt x="216337" y="27837"/>
                  </a:lnTo>
                  <a:lnTo>
                    <a:pt x="167628" y="53071"/>
                  </a:lnTo>
                  <a:lnTo>
                    <a:pt x="123694" y="85269"/>
                  </a:lnTo>
                  <a:lnTo>
                    <a:pt x="85265" y="123699"/>
                  </a:lnTo>
                  <a:lnTo>
                    <a:pt x="53068" y="167634"/>
                  </a:lnTo>
                  <a:lnTo>
                    <a:pt x="27835" y="216343"/>
                  </a:lnTo>
                  <a:lnTo>
                    <a:pt x="10294" y="269096"/>
                  </a:lnTo>
                  <a:lnTo>
                    <a:pt x="1174" y="325165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69" name="object 53"/>
            <p:cNvSpPr>
              <a:spLocks noChangeArrowheads="1"/>
            </p:cNvSpPr>
            <p:nvPr/>
          </p:nvSpPr>
          <p:spPr bwMode="auto">
            <a:xfrm>
              <a:off x="4654550" y="2490788"/>
              <a:ext cx="80963" cy="82550"/>
            </a:xfrm>
            <a:custGeom>
              <a:avLst/>
              <a:gdLst>
                <a:gd name="T0" fmla="*/ 42659 w 80645"/>
                <a:gd name="T1" fmla="*/ 0 h 82550"/>
                <a:gd name="T2" fmla="*/ 27623 w 80645"/>
                <a:gd name="T3" fmla="*/ 2374 h 82550"/>
                <a:gd name="T4" fmla="*/ 15000 w 80645"/>
                <a:gd name="T5" fmla="*/ 8982 h 82550"/>
                <a:gd name="T6" fmla="*/ 5542 w 80645"/>
                <a:gd name="T7" fmla="*/ 18994 h 82550"/>
                <a:gd name="T8" fmla="*/ 0 w 80645"/>
                <a:gd name="T9" fmla="*/ 31579 h 82550"/>
                <a:gd name="T10" fmla="*/ 1451 w 80645"/>
                <a:gd name="T11" fmla="*/ 48640 h 82550"/>
                <a:gd name="T12" fmla="*/ 25788 w 80645"/>
                <a:gd name="T13" fmla="*/ 79414 h 82550"/>
                <a:gd name="T14" fmla="*/ 41011 w 80645"/>
                <a:gd name="T15" fmla="*/ 82303 h 82550"/>
                <a:gd name="T16" fmla="*/ 55463 w 80645"/>
                <a:gd name="T17" fmla="*/ 79819 h 82550"/>
                <a:gd name="T18" fmla="*/ 67759 w 80645"/>
                <a:gd name="T19" fmla="*/ 72954 h 82550"/>
                <a:gd name="T20" fmla="*/ 76998 w 80645"/>
                <a:gd name="T21" fmla="*/ 62586 h 82550"/>
                <a:gd name="T22" fmla="*/ 82276 w 80645"/>
                <a:gd name="T23" fmla="*/ 49594 h 82550"/>
                <a:gd name="T24" fmla="*/ 80652 w 80645"/>
                <a:gd name="T25" fmla="*/ 32822 h 82550"/>
                <a:gd name="T26" fmla="*/ 75191 w 80645"/>
                <a:gd name="T27" fmla="*/ 19223 h 82550"/>
                <a:gd name="T28" fmla="*/ 66578 w 80645"/>
                <a:gd name="T29" fmla="*/ 9052 h 82550"/>
                <a:gd name="T30" fmla="*/ 55507 w 80645"/>
                <a:gd name="T31" fmla="*/ 2560 h 82550"/>
                <a:gd name="T32" fmla="*/ 42659 w 80645"/>
                <a:gd name="T33" fmla="*/ 0 h 825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0645"/>
                <a:gd name="T52" fmla="*/ 0 h 82550"/>
                <a:gd name="T53" fmla="*/ 80645 w 80645"/>
                <a:gd name="T54" fmla="*/ 82550 h 825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0645" h="82550">
                  <a:moveTo>
                    <a:pt x="41663" y="0"/>
                  </a:moveTo>
                  <a:lnTo>
                    <a:pt x="26979" y="2374"/>
                  </a:lnTo>
                  <a:lnTo>
                    <a:pt x="14650" y="8982"/>
                  </a:lnTo>
                  <a:lnTo>
                    <a:pt x="5412" y="18994"/>
                  </a:lnTo>
                  <a:lnTo>
                    <a:pt x="0" y="31579"/>
                  </a:lnTo>
                  <a:lnTo>
                    <a:pt x="1415" y="48640"/>
                  </a:lnTo>
                  <a:lnTo>
                    <a:pt x="25187" y="79414"/>
                  </a:lnTo>
                  <a:lnTo>
                    <a:pt x="40054" y="82303"/>
                  </a:lnTo>
                  <a:lnTo>
                    <a:pt x="54169" y="79819"/>
                  </a:lnTo>
                  <a:lnTo>
                    <a:pt x="66178" y="72954"/>
                  </a:lnTo>
                  <a:lnTo>
                    <a:pt x="75201" y="62586"/>
                  </a:lnTo>
                  <a:lnTo>
                    <a:pt x="80356" y="49594"/>
                  </a:lnTo>
                  <a:lnTo>
                    <a:pt x="78769" y="32822"/>
                  </a:lnTo>
                  <a:lnTo>
                    <a:pt x="73436" y="19223"/>
                  </a:lnTo>
                  <a:lnTo>
                    <a:pt x="65026" y="9052"/>
                  </a:lnTo>
                  <a:lnTo>
                    <a:pt x="54212" y="2560"/>
                  </a:lnTo>
                  <a:lnTo>
                    <a:pt x="41663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70" name="object 54"/>
            <p:cNvSpPr>
              <a:spLocks noChangeArrowheads="1"/>
            </p:cNvSpPr>
            <p:nvPr/>
          </p:nvSpPr>
          <p:spPr bwMode="auto">
            <a:xfrm>
              <a:off x="4654550" y="2490788"/>
              <a:ext cx="80963" cy="82550"/>
            </a:xfrm>
            <a:custGeom>
              <a:avLst/>
              <a:gdLst>
                <a:gd name="T0" fmla="*/ 41011 w 80645"/>
                <a:gd name="T1" fmla="*/ 82303 h 82550"/>
                <a:gd name="T2" fmla="*/ 55463 w 80645"/>
                <a:gd name="T3" fmla="*/ 79819 h 82550"/>
                <a:gd name="T4" fmla="*/ 67759 w 80645"/>
                <a:gd name="T5" fmla="*/ 72954 h 82550"/>
                <a:gd name="T6" fmla="*/ 76998 w 80645"/>
                <a:gd name="T7" fmla="*/ 62586 h 82550"/>
                <a:gd name="T8" fmla="*/ 82276 w 80645"/>
                <a:gd name="T9" fmla="*/ 49594 h 82550"/>
                <a:gd name="T10" fmla="*/ 80652 w 80645"/>
                <a:gd name="T11" fmla="*/ 32822 h 82550"/>
                <a:gd name="T12" fmla="*/ 75191 w 80645"/>
                <a:gd name="T13" fmla="*/ 19223 h 82550"/>
                <a:gd name="T14" fmla="*/ 66578 w 80645"/>
                <a:gd name="T15" fmla="*/ 9052 h 82550"/>
                <a:gd name="T16" fmla="*/ 55507 w 80645"/>
                <a:gd name="T17" fmla="*/ 2560 h 82550"/>
                <a:gd name="T18" fmla="*/ 42659 w 80645"/>
                <a:gd name="T19" fmla="*/ 0 h 82550"/>
                <a:gd name="T20" fmla="*/ 27623 w 80645"/>
                <a:gd name="T21" fmla="*/ 2374 h 82550"/>
                <a:gd name="T22" fmla="*/ 15000 w 80645"/>
                <a:gd name="T23" fmla="*/ 8982 h 82550"/>
                <a:gd name="T24" fmla="*/ 5542 w 80645"/>
                <a:gd name="T25" fmla="*/ 18994 h 82550"/>
                <a:gd name="T26" fmla="*/ 0 w 80645"/>
                <a:gd name="T27" fmla="*/ 31579 h 82550"/>
                <a:gd name="T28" fmla="*/ 1451 w 80645"/>
                <a:gd name="T29" fmla="*/ 48640 h 82550"/>
                <a:gd name="T30" fmla="*/ 25788 w 80645"/>
                <a:gd name="T31" fmla="*/ 79414 h 82550"/>
                <a:gd name="T32" fmla="*/ 41011 w 80645"/>
                <a:gd name="T33" fmla="*/ 82303 h 825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0645"/>
                <a:gd name="T52" fmla="*/ 0 h 82550"/>
                <a:gd name="T53" fmla="*/ 80645 w 80645"/>
                <a:gd name="T54" fmla="*/ 82550 h 825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0645" h="82550">
                  <a:moveTo>
                    <a:pt x="40054" y="82303"/>
                  </a:moveTo>
                  <a:lnTo>
                    <a:pt x="54169" y="79819"/>
                  </a:lnTo>
                  <a:lnTo>
                    <a:pt x="66178" y="72954"/>
                  </a:lnTo>
                  <a:lnTo>
                    <a:pt x="75201" y="62586"/>
                  </a:lnTo>
                  <a:lnTo>
                    <a:pt x="80356" y="49594"/>
                  </a:lnTo>
                  <a:lnTo>
                    <a:pt x="78769" y="32822"/>
                  </a:lnTo>
                  <a:lnTo>
                    <a:pt x="73436" y="19223"/>
                  </a:lnTo>
                  <a:lnTo>
                    <a:pt x="65026" y="9052"/>
                  </a:lnTo>
                  <a:lnTo>
                    <a:pt x="54212" y="2560"/>
                  </a:lnTo>
                  <a:lnTo>
                    <a:pt x="41663" y="0"/>
                  </a:lnTo>
                  <a:lnTo>
                    <a:pt x="26979" y="2374"/>
                  </a:lnTo>
                  <a:lnTo>
                    <a:pt x="14650" y="8982"/>
                  </a:lnTo>
                  <a:lnTo>
                    <a:pt x="5412" y="18994"/>
                  </a:lnTo>
                  <a:lnTo>
                    <a:pt x="0" y="31579"/>
                  </a:lnTo>
                  <a:lnTo>
                    <a:pt x="1415" y="48640"/>
                  </a:lnTo>
                  <a:lnTo>
                    <a:pt x="25187" y="79414"/>
                  </a:lnTo>
                  <a:lnTo>
                    <a:pt x="40054" y="82303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71" name="object 55"/>
            <p:cNvSpPr>
              <a:spLocks noChangeArrowheads="1"/>
            </p:cNvSpPr>
            <p:nvPr/>
          </p:nvSpPr>
          <p:spPr bwMode="auto">
            <a:xfrm>
              <a:off x="4668838" y="3097213"/>
              <a:ext cx="49212" cy="52387"/>
            </a:xfrm>
            <a:custGeom>
              <a:avLst/>
              <a:gdLst>
                <a:gd name="T0" fmla="*/ 36596 w 48895"/>
                <a:gd name="T1" fmla="*/ 0 h 51435"/>
                <a:gd name="T2" fmla="*/ 18617 w 48895"/>
                <a:gd name="T3" fmla="*/ 1404 h 51435"/>
                <a:gd name="T4" fmla="*/ 6442 w 48895"/>
                <a:gd name="T5" fmla="*/ 8298 h 51435"/>
                <a:gd name="T6" fmla="*/ 0 w 48895"/>
                <a:gd name="T7" fmla="*/ 19134 h 51435"/>
                <a:gd name="T8" fmla="*/ 2145 w 48895"/>
                <a:gd name="T9" fmla="*/ 37663 h 51435"/>
                <a:gd name="T10" fmla="*/ 9545 w 48895"/>
                <a:gd name="T11" fmla="*/ 50183 h 51435"/>
                <a:gd name="T12" fmla="*/ 20648 w 48895"/>
                <a:gd name="T13" fmla="*/ 56421 h 51435"/>
                <a:gd name="T14" fmla="*/ 26494 w 48895"/>
                <a:gd name="T15" fmla="*/ 57106 h 51435"/>
                <a:gd name="T16" fmla="*/ 40605 w 48895"/>
                <a:gd name="T17" fmla="*/ 52954 h 51435"/>
                <a:gd name="T18" fmla="*/ 50549 w 48895"/>
                <a:gd name="T19" fmla="*/ 42059 h 51435"/>
                <a:gd name="T20" fmla="*/ 50395 w 48895"/>
                <a:gd name="T21" fmla="*/ 21703 h 51435"/>
                <a:gd name="T22" fmla="*/ 45310 w 48895"/>
                <a:gd name="T23" fmla="*/ 7832 h 51435"/>
                <a:gd name="T24" fmla="*/ 36596 w 48895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72" name="object 56"/>
            <p:cNvSpPr>
              <a:spLocks noChangeArrowheads="1"/>
            </p:cNvSpPr>
            <p:nvPr/>
          </p:nvSpPr>
          <p:spPr bwMode="auto">
            <a:xfrm>
              <a:off x="4668838" y="3097213"/>
              <a:ext cx="49212" cy="52387"/>
            </a:xfrm>
            <a:custGeom>
              <a:avLst/>
              <a:gdLst>
                <a:gd name="T0" fmla="*/ 26494 w 48895"/>
                <a:gd name="T1" fmla="*/ 57106 h 51435"/>
                <a:gd name="T2" fmla="*/ 40605 w 48895"/>
                <a:gd name="T3" fmla="*/ 52954 h 51435"/>
                <a:gd name="T4" fmla="*/ 50549 w 48895"/>
                <a:gd name="T5" fmla="*/ 42059 h 51435"/>
                <a:gd name="T6" fmla="*/ 50395 w 48895"/>
                <a:gd name="T7" fmla="*/ 21703 h 51435"/>
                <a:gd name="T8" fmla="*/ 45310 w 48895"/>
                <a:gd name="T9" fmla="*/ 7832 h 51435"/>
                <a:gd name="T10" fmla="*/ 36596 w 48895"/>
                <a:gd name="T11" fmla="*/ 0 h 51435"/>
                <a:gd name="T12" fmla="*/ 18617 w 48895"/>
                <a:gd name="T13" fmla="*/ 1404 h 51435"/>
                <a:gd name="T14" fmla="*/ 6442 w 48895"/>
                <a:gd name="T15" fmla="*/ 8298 h 51435"/>
                <a:gd name="T16" fmla="*/ 0 w 48895"/>
                <a:gd name="T17" fmla="*/ 19134 h 51435"/>
                <a:gd name="T18" fmla="*/ 2145 w 48895"/>
                <a:gd name="T19" fmla="*/ 37663 h 51435"/>
                <a:gd name="T20" fmla="*/ 9545 w 48895"/>
                <a:gd name="T21" fmla="*/ 50183 h 51435"/>
                <a:gd name="T22" fmla="*/ 20648 w 48895"/>
                <a:gd name="T23" fmla="*/ 56421 h 51435"/>
                <a:gd name="T24" fmla="*/ 26494 w 48895"/>
                <a:gd name="T25" fmla="*/ 57106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73" name="object 57"/>
            <p:cNvSpPr>
              <a:spLocks noChangeArrowheads="1"/>
            </p:cNvSpPr>
            <p:nvPr/>
          </p:nvSpPr>
          <p:spPr bwMode="auto">
            <a:xfrm>
              <a:off x="4668838" y="4064000"/>
              <a:ext cx="49212" cy="52388"/>
            </a:xfrm>
            <a:custGeom>
              <a:avLst/>
              <a:gdLst>
                <a:gd name="T0" fmla="*/ 36596 w 48895"/>
                <a:gd name="T1" fmla="*/ 0 h 51435"/>
                <a:gd name="T2" fmla="*/ 18617 w 48895"/>
                <a:gd name="T3" fmla="*/ 1404 h 51435"/>
                <a:gd name="T4" fmla="*/ 6442 w 48895"/>
                <a:gd name="T5" fmla="*/ 8299 h 51435"/>
                <a:gd name="T6" fmla="*/ 0 w 48895"/>
                <a:gd name="T7" fmla="*/ 19137 h 51435"/>
                <a:gd name="T8" fmla="*/ 2145 w 48895"/>
                <a:gd name="T9" fmla="*/ 37669 h 51435"/>
                <a:gd name="T10" fmla="*/ 9545 w 48895"/>
                <a:gd name="T11" fmla="*/ 50189 h 51435"/>
                <a:gd name="T12" fmla="*/ 20648 w 48895"/>
                <a:gd name="T13" fmla="*/ 56427 h 51435"/>
                <a:gd name="T14" fmla="*/ 26494 w 48895"/>
                <a:gd name="T15" fmla="*/ 57112 h 51435"/>
                <a:gd name="T16" fmla="*/ 40605 w 48895"/>
                <a:gd name="T17" fmla="*/ 52960 h 51435"/>
                <a:gd name="T18" fmla="*/ 50549 w 48895"/>
                <a:gd name="T19" fmla="*/ 42065 h 51435"/>
                <a:gd name="T20" fmla="*/ 50395 w 48895"/>
                <a:gd name="T21" fmla="*/ 21707 h 51435"/>
                <a:gd name="T22" fmla="*/ 45310 w 48895"/>
                <a:gd name="T23" fmla="*/ 7832 h 51435"/>
                <a:gd name="T24" fmla="*/ 36596 w 48895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74" name="object 58"/>
            <p:cNvSpPr>
              <a:spLocks noChangeArrowheads="1"/>
            </p:cNvSpPr>
            <p:nvPr/>
          </p:nvSpPr>
          <p:spPr bwMode="auto">
            <a:xfrm>
              <a:off x="4668838" y="4064000"/>
              <a:ext cx="49212" cy="52388"/>
            </a:xfrm>
            <a:custGeom>
              <a:avLst/>
              <a:gdLst>
                <a:gd name="T0" fmla="*/ 26494 w 48895"/>
                <a:gd name="T1" fmla="*/ 57112 h 51435"/>
                <a:gd name="T2" fmla="*/ 40605 w 48895"/>
                <a:gd name="T3" fmla="*/ 52960 h 51435"/>
                <a:gd name="T4" fmla="*/ 50549 w 48895"/>
                <a:gd name="T5" fmla="*/ 42065 h 51435"/>
                <a:gd name="T6" fmla="*/ 50395 w 48895"/>
                <a:gd name="T7" fmla="*/ 21707 h 51435"/>
                <a:gd name="T8" fmla="*/ 45310 w 48895"/>
                <a:gd name="T9" fmla="*/ 7832 h 51435"/>
                <a:gd name="T10" fmla="*/ 36596 w 48895"/>
                <a:gd name="T11" fmla="*/ 0 h 51435"/>
                <a:gd name="T12" fmla="*/ 18617 w 48895"/>
                <a:gd name="T13" fmla="*/ 1404 h 51435"/>
                <a:gd name="T14" fmla="*/ 6442 w 48895"/>
                <a:gd name="T15" fmla="*/ 8299 h 51435"/>
                <a:gd name="T16" fmla="*/ 0 w 48895"/>
                <a:gd name="T17" fmla="*/ 19137 h 51435"/>
                <a:gd name="T18" fmla="*/ 2145 w 48895"/>
                <a:gd name="T19" fmla="*/ 37669 h 51435"/>
                <a:gd name="T20" fmla="*/ 9545 w 48895"/>
                <a:gd name="T21" fmla="*/ 50189 h 51435"/>
                <a:gd name="T22" fmla="*/ 20648 w 48895"/>
                <a:gd name="T23" fmla="*/ 56427 h 51435"/>
                <a:gd name="T24" fmla="*/ 26494 w 48895"/>
                <a:gd name="T25" fmla="*/ 57112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5"/>
                <a:gd name="T40" fmla="*/ 0 h 51435"/>
                <a:gd name="T41" fmla="*/ 48895 w 48895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5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grpSp>
        <p:nvGrpSpPr>
          <p:cNvPr id="281606" name="Gruppieren 2"/>
          <p:cNvGrpSpPr>
            <a:grpSpLocks/>
          </p:cNvGrpSpPr>
          <p:nvPr/>
        </p:nvGrpSpPr>
        <p:grpSpPr bwMode="auto">
          <a:xfrm>
            <a:off x="1492250" y="1741488"/>
            <a:ext cx="1633538" cy="3316287"/>
            <a:chOff x="2057400" y="1606550"/>
            <a:chExt cx="1633538" cy="3316288"/>
          </a:xfrm>
        </p:grpSpPr>
        <p:sp>
          <p:nvSpPr>
            <p:cNvPr id="281647" name="object 59"/>
            <p:cNvSpPr>
              <a:spLocks noChangeArrowheads="1"/>
            </p:cNvSpPr>
            <p:nvPr/>
          </p:nvSpPr>
          <p:spPr bwMode="auto">
            <a:xfrm>
              <a:off x="2057400" y="1606550"/>
              <a:ext cx="1633538" cy="1254125"/>
            </a:xfrm>
            <a:prstGeom prst="rect">
              <a:avLst/>
            </a:prstGeom>
            <a:blipFill dpi="0" rotWithShape="1"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48" name="object 60"/>
            <p:cNvSpPr>
              <a:spLocks noChangeArrowheads="1"/>
            </p:cNvSpPr>
            <p:nvPr/>
          </p:nvSpPr>
          <p:spPr bwMode="auto">
            <a:xfrm>
              <a:off x="2908300" y="2530475"/>
              <a:ext cx="0" cy="2273300"/>
            </a:xfrm>
            <a:custGeom>
              <a:avLst/>
              <a:gdLst>
                <a:gd name="T0" fmla="*/ 0 h 2273300"/>
                <a:gd name="T1" fmla="*/ 2272766 h 2273300"/>
                <a:gd name="T2" fmla="*/ 0 60000 65536"/>
                <a:gd name="T3" fmla="*/ 0 60000 65536"/>
                <a:gd name="T4" fmla="*/ 0 h 2273300"/>
                <a:gd name="T5" fmla="*/ 2273300 h 2273300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T4" r="0" b="T5"/>
              <a:pathLst>
                <a:path h="2273300">
                  <a:moveTo>
                    <a:pt x="0" y="0"/>
                  </a:moveTo>
                  <a:lnTo>
                    <a:pt x="0" y="2272766"/>
                  </a:lnTo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49" name="object 61"/>
            <p:cNvSpPr>
              <a:spLocks noChangeArrowheads="1"/>
            </p:cNvSpPr>
            <p:nvPr/>
          </p:nvSpPr>
          <p:spPr bwMode="auto">
            <a:xfrm>
              <a:off x="2495550" y="4098925"/>
              <a:ext cx="823913" cy="823913"/>
            </a:xfrm>
            <a:custGeom>
              <a:avLst/>
              <a:gdLst>
                <a:gd name="T0" fmla="*/ 410900 w 824229"/>
                <a:gd name="T1" fmla="*/ 0 h 824229"/>
                <a:gd name="T2" fmla="*/ 344252 w 824229"/>
                <a:gd name="T3" fmla="*/ 5378 h 824229"/>
                <a:gd name="T4" fmla="*/ 281024 w 824229"/>
                <a:gd name="T5" fmla="*/ 20948 h 824229"/>
                <a:gd name="T6" fmla="*/ 222070 w 824229"/>
                <a:gd name="T7" fmla="*/ 45861 h 824229"/>
                <a:gd name="T8" fmla="*/ 168226 w 824229"/>
                <a:gd name="T9" fmla="*/ 79282 h 824229"/>
                <a:gd name="T10" fmla="*/ 120351 w 824229"/>
                <a:gd name="T11" fmla="*/ 120350 h 824229"/>
                <a:gd name="T12" fmla="*/ 79282 w 824229"/>
                <a:gd name="T13" fmla="*/ 168223 h 824229"/>
                <a:gd name="T14" fmla="*/ 45861 w 824229"/>
                <a:gd name="T15" fmla="*/ 222066 h 824229"/>
                <a:gd name="T16" fmla="*/ 20948 w 824229"/>
                <a:gd name="T17" fmla="*/ 281018 h 824229"/>
                <a:gd name="T18" fmla="*/ 5378 w 824229"/>
                <a:gd name="T19" fmla="*/ 344243 h 824229"/>
                <a:gd name="T20" fmla="*/ 0 w 824229"/>
                <a:gd name="T21" fmla="*/ 410887 h 824229"/>
                <a:gd name="T22" fmla="*/ 1359 w 824229"/>
                <a:gd name="T23" fmla="*/ 444587 h 824229"/>
                <a:gd name="T24" fmla="*/ 11939 w 824229"/>
                <a:gd name="T25" fmla="*/ 509632 h 824229"/>
                <a:gd name="T26" fmla="*/ 32293 w 824229"/>
                <a:gd name="T27" fmla="*/ 570831 h 824229"/>
                <a:gd name="T28" fmla="*/ 61560 w 824229"/>
                <a:gd name="T29" fmla="*/ 627333 h 824229"/>
                <a:gd name="T30" fmla="*/ 98911 w 824229"/>
                <a:gd name="T31" fmla="*/ 678299 h 824229"/>
                <a:gd name="T32" fmla="*/ 143492 w 824229"/>
                <a:gd name="T33" fmla="*/ 722879 h 824229"/>
                <a:gd name="T34" fmla="*/ 194454 w 824229"/>
                <a:gd name="T35" fmla="*/ 760227 h 824229"/>
                <a:gd name="T36" fmla="*/ 250962 w 824229"/>
                <a:gd name="T37" fmla="*/ 789500 h 824229"/>
                <a:gd name="T38" fmla="*/ 312156 w 824229"/>
                <a:gd name="T39" fmla="*/ 809848 h 824229"/>
                <a:gd name="T40" fmla="*/ 377200 w 824229"/>
                <a:gd name="T41" fmla="*/ 820428 h 824229"/>
                <a:gd name="T42" fmla="*/ 410900 w 824229"/>
                <a:gd name="T43" fmla="*/ 821790 h 824229"/>
                <a:gd name="T44" fmla="*/ 444600 w 824229"/>
                <a:gd name="T45" fmla="*/ 820428 h 824229"/>
                <a:gd name="T46" fmla="*/ 509645 w 824229"/>
                <a:gd name="T47" fmla="*/ 809848 h 824229"/>
                <a:gd name="T48" fmla="*/ 570844 w 824229"/>
                <a:gd name="T49" fmla="*/ 789500 h 824229"/>
                <a:gd name="T50" fmla="*/ 627346 w 824229"/>
                <a:gd name="T51" fmla="*/ 760227 h 824229"/>
                <a:gd name="T52" fmla="*/ 678312 w 824229"/>
                <a:gd name="T53" fmla="*/ 722879 h 824229"/>
                <a:gd name="T54" fmla="*/ 722892 w 824229"/>
                <a:gd name="T55" fmla="*/ 678299 h 824229"/>
                <a:gd name="T56" fmla="*/ 760240 w 824229"/>
                <a:gd name="T57" fmla="*/ 627333 h 824229"/>
                <a:gd name="T58" fmla="*/ 789513 w 824229"/>
                <a:gd name="T59" fmla="*/ 570831 h 824229"/>
                <a:gd name="T60" fmla="*/ 809861 w 824229"/>
                <a:gd name="T61" fmla="*/ 509632 h 824229"/>
                <a:gd name="T62" fmla="*/ 820441 w 824229"/>
                <a:gd name="T63" fmla="*/ 444587 h 824229"/>
                <a:gd name="T64" fmla="*/ 821803 w 824229"/>
                <a:gd name="T65" fmla="*/ 410887 h 824229"/>
                <a:gd name="T66" fmla="*/ 820441 w 824229"/>
                <a:gd name="T67" fmla="*/ 377189 h 824229"/>
                <a:gd name="T68" fmla="*/ 809861 w 824229"/>
                <a:gd name="T69" fmla="*/ 312148 h 824229"/>
                <a:gd name="T70" fmla="*/ 789513 w 824229"/>
                <a:gd name="T71" fmla="*/ 250957 h 824229"/>
                <a:gd name="T72" fmla="*/ 760240 w 824229"/>
                <a:gd name="T73" fmla="*/ 194450 h 824229"/>
                <a:gd name="T74" fmla="*/ 722892 w 824229"/>
                <a:gd name="T75" fmla="*/ 143489 h 824229"/>
                <a:gd name="T76" fmla="*/ 678312 w 824229"/>
                <a:gd name="T77" fmla="*/ 98910 h 824229"/>
                <a:gd name="T78" fmla="*/ 627346 w 824229"/>
                <a:gd name="T79" fmla="*/ 61559 h 824229"/>
                <a:gd name="T80" fmla="*/ 570844 w 824229"/>
                <a:gd name="T81" fmla="*/ 32292 h 824229"/>
                <a:gd name="T82" fmla="*/ 509645 w 824229"/>
                <a:gd name="T83" fmla="*/ 11939 h 824229"/>
                <a:gd name="T84" fmla="*/ 444600 w 824229"/>
                <a:gd name="T85" fmla="*/ 1359 h 824229"/>
                <a:gd name="T86" fmla="*/ 410900 w 824229"/>
                <a:gd name="T87" fmla="*/ 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29"/>
                <a:gd name="T133" fmla="*/ 0 h 824229"/>
                <a:gd name="T134" fmla="*/ 824229 w 824229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29" h="824229">
                  <a:moveTo>
                    <a:pt x="411848" y="0"/>
                  </a:moveTo>
                  <a:lnTo>
                    <a:pt x="345044" y="5390"/>
                  </a:lnTo>
                  <a:lnTo>
                    <a:pt x="281672" y="20996"/>
                  </a:lnTo>
                  <a:lnTo>
                    <a:pt x="222580" y="45969"/>
                  </a:lnTo>
                  <a:lnTo>
                    <a:pt x="168616" y="79462"/>
                  </a:lnTo>
                  <a:lnTo>
                    <a:pt x="120627" y="120626"/>
                  </a:lnTo>
                  <a:lnTo>
                    <a:pt x="79462" y="168613"/>
                  </a:lnTo>
                  <a:lnTo>
                    <a:pt x="45969" y="222576"/>
                  </a:lnTo>
                  <a:lnTo>
                    <a:pt x="20996" y="281666"/>
                  </a:lnTo>
                  <a:lnTo>
                    <a:pt x="5390" y="345035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lnTo>
                    <a:pt x="445626" y="822318"/>
                  </a:lnTo>
                  <a:lnTo>
                    <a:pt x="510820" y="811714"/>
                  </a:lnTo>
                  <a:lnTo>
                    <a:pt x="572158" y="791318"/>
                  </a:lnTo>
                  <a:lnTo>
                    <a:pt x="628792" y="761979"/>
                  </a:lnTo>
                  <a:lnTo>
                    <a:pt x="679874" y="724544"/>
                  </a:lnTo>
                  <a:lnTo>
                    <a:pt x="724557" y="679861"/>
                  </a:lnTo>
                  <a:lnTo>
                    <a:pt x="761992" y="628779"/>
                  </a:lnTo>
                  <a:lnTo>
                    <a:pt x="791331" y="572145"/>
                  </a:lnTo>
                  <a:lnTo>
                    <a:pt x="811727" y="510807"/>
                  </a:lnTo>
                  <a:lnTo>
                    <a:pt x="822331" y="445613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50" name="object 62"/>
            <p:cNvSpPr>
              <a:spLocks noChangeArrowheads="1"/>
            </p:cNvSpPr>
            <p:nvPr/>
          </p:nvSpPr>
          <p:spPr bwMode="auto">
            <a:xfrm>
              <a:off x="2495550" y="4138613"/>
              <a:ext cx="823913" cy="765175"/>
            </a:xfrm>
            <a:prstGeom prst="rect">
              <a:avLst/>
            </a:prstGeom>
            <a:blipFill dpi="0" rotWithShape="1"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51" name="object 63"/>
            <p:cNvSpPr>
              <a:spLocks noChangeArrowheads="1"/>
            </p:cNvSpPr>
            <p:nvPr/>
          </p:nvSpPr>
          <p:spPr bwMode="auto">
            <a:xfrm>
              <a:off x="2495550" y="4098925"/>
              <a:ext cx="823913" cy="823913"/>
            </a:xfrm>
            <a:custGeom>
              <a:avLst/>
              <a:gdLst>
                <a:gd name="T0" fmla="*/ 410900 w 824229"/>
                <a:gd name="T1" fmla="*/ 821790 h 824229"/>
                <a:gd name="T2" fmla="*/ 477553 w 824229"/>
                <a:gd name="T3" fmla="*/ 816413 h 824229"/>
                <a:gd name="T4" fmla="*/ 540779 w 824229"/>
                <a:gd name="T5" fmla="*/ 800842 h 824229"/>
                <a:gd name="T6" fmla="*/ 599736 w 824229"/>
                <a:gd name="T7" fmla="*/ 775926 h 824229"/>
                <a:gd name="T8" fmla="*/ 653574 w 824229"/>
                <a:gd name="T9" fmla="*/ 742510 h 824229"/>
                <a:gd name="T10" fmla="*/ 701453 w 824229"/>
                <a:gd name="T11" fmla="*/ 701441 h 824229"/>
                <a:gd name="T12" fmla="*/ 742523 w 824229"/>
                <a:gd name="T13" fmla="*/ 653561 h 824229"/>
                <a:gd name="T14" fmla="*/ 775938 w 824229"/>
                <a:gd name="T15" fmla="*/ 599723 h 824229"/>
                <a:gd name="T16" fmla="*/ 800855 w 824229"/>
                <a:gd name="T17" fmla="*/ 540766 h 824229"/>
                <a:gd name="T18" fmla="*/ 816426 w 824229"/>
                <a:gd name="T19" fmla="*/ 477540 h 824229"/>
                <a:gd name="T20" fmla="*/ 821803 w 824229"/>
                <a:gd name="T21" fmla="*/ 410887 h 824229"/>
                <a:gd name="T22" fmla="*/ 820441 w 824229"/>
                <a:gd name="T23" fmla="*/ 377189 h 824229"/>
                <a:gd name="T24" fmla="*/ 809861 w 824229"/>
                <a:gd name="T25" fmla="*/ 312148 h 824229"/>
                <a:gd name="T26" fmla="*/ 789513 w 824229"/>
                <a:gd name="T27" fmla="*/ 250957 h 824229"/>
                <a:gd name="T28" fmla="*/ 760240 w 824229"/>
                <a:gd name="T29" fmla="*/ 194450 h 824229"/>
                <a:gd name="T30" fmla="*/ 722892 w 824229"/>
                <a:gd name="T31" fmla="*/ 143489 h 824229"/>
                <a:gd name="T32" fmla="*/ 678312 w 824229"/>
                <a:gd name="T33" fmla="*/ 98910 h 824229"/>
                <a:gd name="T34" fmla="*/ 627346 w 824229"/>
                <a:gd name="T35" fmla="*/ 61559 h 824229"/>
                <a:gd name="T36" fmla="*/ 570844 w 824229"/>
                <a:gd name="T37" fmla="*/ 32292 h 824229"/>
                <a:gd name="T38" fmla="*/ 509645 w 824229"/>
                <a:gd name="T39" fmla="*/ 11939 h 824229"/>
                <a:gd name="T40" fmla="*/ 444600 w 824229"/>
                <a:gd name="T41" fmla="*/ 1359 h 824229"/>
                <a:gd name="T42" fmla="*/ 410900 w 824229"/>
                <a:gd name="T43" fmla="*/ 0 h 824229"/>
                <a:gd name="T44" fmla="*/ 377200 w 824229"/>
                <a:gd name="T45" fmla="*/ 1359 h 824229"/>
                <a:gd name="T46" fmla="*/ 312156 w 824229"/>
                <a:gd name="T47" fmla="*/ 11939 h 824229"/>
                <a:gd name="T48" fmla="*/ 250962 w 824229"/>
                <a:gd name="T49" fmla="*/ 32292 h 824229"/>
                <a:gd name="T50" fmla="*/ 194454 w 824229"/>
                <a:gd name="T51" fmla="*/ 61559 h 824229"/>
                <a:gd name="T52" fmla="*/ 143492 w 824229"/>
                <a:gd name="T53" fmla="*/ 98910 h 824229"/>
                <a:gd name="T54" fmla="*/ 98911 w 824229"/>
                <a:gd name="T55" fmla="*/ 143489 h 824229"/>
                <a:gd name="T56" fmla="*/ 61560 w 824229"/>
                <a:gd name="T57" fmla="*/ 194450 h 824229"/>
                <a:gd name="T58" fmla="*/ 32293 w 824229"/>
                <a:gd name="T59" fmla="*/ 250957 h 824229"/>
                <a:gd name="T60" fmla="*/ 11939 w 824229"/>
                <a:gd name="T61" fmla="*/ 312148 h 824229"/>
                <a:gd name="T62" fmla="*/ 1359 w 824229"/>
                <a:gd name="T63" fmla="*/ 377189 h 824229"/>
                <a:gd name="T64" fmla="*/ 0 w 824229"/>
                <a:gd name="T65" fmla="*/ 410887 h 824229"/>
                <a:gd name="T66" fmla="*/ 1359 w 824229"/>
                <a:gd name="T67" fmla="*/ 444587 h 824229"/>
                <a:gd name="T68" fmla="*/ 11939 w 824229"/>
                <a:gd name="T69" fmla="*/ 509632 h 824229"/>
                <a:gd name="T70" fmla="*/ 32293 w 824229"/>
                <a:gd name="T71" fmla="*/ 570831 h 824229"/>
                <a:gd name="T72" fmla="*/ 61560 w 824229"/>
                <a:gd name="T73" fmla="*/ 627333 h 824229"/>
                <a:gd name="T74" fmla="*/ 98911 w 824229"/>
                <a:gd name="T75" fmla="*/ 678299 h 824229"/>
                <a:gd name="T76" fmla="*/ 143492 w 824229"/>
                <a:gd name="T77" fmla="*/ 722879 h 824229"/>
                <a:gd name="T78" fmla="*/ 194454 w 824229"/>
                <a:gd name="T79" fmla="*/ 760227 h 824229"/>
                <a:gd name="T80" fmla="*/ 250962 w 824229"/>
                <a:gd name="T81" fmla="*/ 789500 h 824229"/>
                <a:gd name="T82" fmla="*/ 312156 w 824229"/>
                <a:gd name="T83" fmla="*/ 809848 h 824229"/>
                <a:gd name="T84" fmla="*/ 377200 w 824229"/>
                <a:gd name="T85" fmla="*/ 820428 h 824229"/>
                <a:gd name="T86" fmla="*/ 410900 w 824229"/>
                <a:gd name="T87" fmla="*/ 82179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29"/>
                <a:gd name="T133" fmla="*/ 0 h 824229"/>
                <a:gd name="T134" fmla="*/ 824229 w 824229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29" h="824229">
                  <a:moveTo>
                    <a:pt x="411848" y="823683"/>
                  </a:moveTo>
                  <a:lnTo>
                    <a:pt x="478652" y="818293"/>
                  </a:lnTo>
                  <a:lnTo>
                    <a:pt x="542024" y="802687"/>
                  </a:lnTo>
                  <a:lnTo>
                    <a:pt x="601116" y="777714"/>
                  </a:lnTo>
                  <a:lnTo>
                    <a:pt x="655080" y="744220"/>
                  </a:lnTo>
                  <a:lnTo>
                    <a:pt x="703068" y="703056"/>
                  </a:lnTo>
                  <a:lnTo>
                    <a:pt x="744233" y="655067"/>
                  </a:lnTo>
                  <a:lnTo>
                    <a:pt x="777726" y="601103"/>
                  </a:lnTo>
                  <a:lnTo>
                    <a:pt x="802700" y="542011"/>
                  </a:lnTo>
                  <a:lnTo>
                    <a:pt x="818306" y="478639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lnTo>
                    <a:pt x="378070" y="1365"/>
                  </a:lnTo>
                  <a:lnTo>
                    <a:pt x="312876" y="11969"/>
                  </a:lnTo>
                  <a:lnTo>
                    <a:pt x="251538" y="32364"/>
                  </a:lnTo>
                  <a:lnTo>
                    <a:pt x="194904" y="61703"/>
                  </a:lnTo>
                  <a:lnTo>
                    <a:pt x="143822" y="99138"/>
                  </a:lnTo>
                  <a:lnTo>
                    <a:pt x="99139" y="143819"/>
                  </a:lnTo>
                  <a:lnTo>
                    <a:pt x="61704" y="194900"/>
                  </a:lnTo>
                  <a:lnTo>
                    <a:pt x="32365" y="251533"/>
                  </a:lnTo>
                  <a:lnTo>
                    <a:pt x="11969" y="312868"/>
                  </a:lnTo>
                  <a:lnTo>
                    <a:pt x="1365" y="378059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52" name="object 64"/>
            <p:cNvSpPr>
              <a:spLocks noChangeArrowheads="1"/>
            </p:cNvSpPr>
            <p:nvPr/>
          </p:nvSpPr>
          <p:spPr bwMode="auto">
            <a:xfrm>
              <a:off x="2554288" y="3132138"/>
              <a:ext cx="708025" cy="709612"/>
            </a:xfrm>
            <a:custGeom>
              <a:avLst/>
              <a:gdLst>
                <a:gd name="T0" fmla="*/ 352315 w 708660"/>
                <a:gd name="T1" fmla="*/ 0 h 708660"/>
                <a:gd name="T2" fmla="*/ 295167 w 708660"/>
                <a:gd name="T3" fmla="*/ 4672 h 708660"/>
                <a:gd name="T4" fmla="*/ 240955 w 708660"/>
                <a:gd name="T5" fmla="*/ 18203 h 708660"/>
                <a:gd name="T6" fmla="*/ 190404 w 708660"/>
                <a:gd name="T7" fmla="*/ 39856 h 708660"/>
                <a:gd name="T8" fmla="*/ 144241 w 708660"/>
                <a:gd name="T9" fmla="*/ 68897 h 708660"/>
                <a:gd name="T10" fmla="*/ 103188 w 708660"/>
                <a:gd name="T11" fmla="*/ 104590 h 708660"/>
                <a:gd name="T12" fmla="*/ 67976 w 708660"/>
                <a:gd name="T13" fmla="*/ 146197 h 708660"/>
                <a:gd name="T14" fmla="*/ 39326 w 708660"/>
                <a:gd name="T15" fmla="*/ 192986 h 708660"/>
                <a:gd name="T16" fmla="*/ 17961 w 708660"/>
                <a:gd name="T17" fmla="*/ 244218 h 708660"/>
                <a:gd name="T18" fmla="*/ 4612 w 708660"/>
                <a:gd name="T19" fmla="*/ 299162 h 708660"/>
                <a:gd name="T20" fmla="*/ 0 w 708660"/>
                <a:gd name="T21" fmla="*/ 357079 h 708660"/>
                <a:gd name="T22" fmla="*/ 1168 w 708660"/>
                <a:gd name="T23" fmla="*/ 386367 h 708660"/>
                <a:gd name="T24" fmla="*/ 10240 w 708660"/>
                <a:gd name="T25" fmla="*/ 442891 h 708660"/>
                <a:gd name="T26" fmla="*/ 27685 w 708660"/>
                <a:gd name="T27" fmla="*/ 496073 h 708660"/>
                <a:gd name="T28" fmla="*/ 52784 w 708660"/>
                <a:gd name="T29" fmla="*/ 545174 h 708660"/>
                <a:gd name="T30" fmla="*/ 84809 w 708660"/>
                <a:gd name="T31" fmla="*/ 589467 h 708660"/>
                <a:gd name="T32" fmla="*/ 123030 w 708660"/>
                <a:gd name="T33" fmla="*/ 628206 h 708660"/>
                <a:gd name="T34" fmla="*/ 166728 w 708660"/>
                <a:gd name="T35" fmla="*/ 660662 h 708660"/>
                <a:gd name="T36" fmla="*/ 215176 w 708660"/>
                <a:gd name="T37" fmla="*/ 686099 h 708660"/>
                <a:gd name="T38" fmla="*/ 267649 w 708660"/>
                <a:gd name="T39" fmla="*/ 703783 h 708660"/>
                <a:gd name="T40" fmla="*/ 323420 w 708660"/>
                <a:gd name="T41" fmla="*/ 712977 h 708660"/>
                <a:gd name="T42" fmla="*/ 352315 w 708660"/>
                <a:gd name="T43" fmla="*/ 714161 h 708660"/>
                <a:gd name="T44" fmla="*/ 381211 w 708660"/>
                <a:gd name="T45" fmla="*/ 712977 h 708660"/>
                <a:gd name="T46" fmla="*/ 436981 w 708660"/>
                <a:gd name="T47" fmla="*/ 703783 h 708660"/>
                <a:gd name="T48" fmla="*/ 489453 w 708660"/>
                <a:gd name="T49" fmla="*/ 686099 h 708660"/>
                <a:gd name="T50" fmla="*/ 537901 w 708660"/>
                <a:gd name="T51" fmla="*/ 660662 h 708660"/>
                <a:gd name="T52" fmla="*/ 581599 w 708660"/>
                <a:gd name="T53" fmla="*/ 628206 h 708660"/>
                <a:gd name="T54" fmla="*/ 619824 w 708660"/>
                <a:gd name="T55" fmla="*/ 589467 h 708660"/>
                <a:gd name="T56" fmla="*/ 651846 w 708660"/>
                <a:gd name="T57" fmla="*/ 545174 h 708660"/>
                <a:gd name="T58" fmla="*/ 676944 w 708660"/>
                <a:gd name="T59" fmla="*/ 496073 h 708660"/>
                <a:gd name="T60" fmla="*/ 694392 w 708660"/>
                <a:gd name="T61" fmla="*/ 442891 h 708660"/>
                <a:gd name="T62" fmla="*/ 703463 w 708660"/>
                <a:gd name="T63" fmla="*/ 386367 h 708660"/>
                <a:gd name="T64" fmla="*/ 704630 w 708660"/>
                <a:gd name="T65" fmla="*/ 357079 h 708660"/>
                <a:gd name="T66" fmla="*/ 703463 w 708660"/>
                <a:gd name="T67" fmla="*/ 327795 h 708660"/>
                <a:gd name="T68" fmla="*/ 694392 w 708660"/>
                <a:gd name="T69" fmla="*/ 271271 h 708660"/>
                <a:gd name="T70" fmla="*/ 676944 w 708660"/>
                <a:gd name="T71" fmla="*/ 218093 h 708660"/>
                <a:gd name="T72" fmla="*/ 651846 w 708660"/>
                <a:gd name="T73" fmla="*/ 168989 h 708660"/>
                <a:gd name="T74" fmla="*/ 619824 w 708660"/>
                <a:gd name="T75" fmla="*/ 124699 h 708660"/>
                <a:gd name="T76" fmla="*/ 581599 w 708660"/>
                <a:gd name="T77" fmla="*/ 85959 h 708660"/>
                <a:gd name="T78" fmla="*/ 537901 w 708660"/>
                <a:gd name="T79" fmla="*/ 53500 h 708660"/>
                <a:gd name="T80" fmla="*/ 489453 w 708660"/>
                <a:gd name="T81" fmla="*/ 28062 h 708660"/>
                <a:gd name="T82" fmla="*/ 436981 w 708660"/>
                <a:gd name="T83" fmla="*/ 10379 h 708660"/>
                <a:gd name="T84" fmla="*/ 381211 w 708660"/>
                <a:gd name="T85" fmla="*/ 1186 h 708660"/>
                <a:gd name="T86" fmla="*/ 352315 w 708660"/>
                <a:gd name="T87" fmla="*/ 0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60"/>
                <a:gd name="T133" fmla="*/ 0 h 708660"/>
                <a:gd name="T134" fmla="*/ 708660 w 708660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60" h="708660">
                  <a:moveTo>
                    <a:pt x="354215" y="0"/>
                  </a:moveTo>
                  <a:lnTo>
                    <a:pt x="296759" y="4636"/>
                  </a:lnTo>
                  <a:lnTo>
                    <a:pt x="242255" y="18059"/>
                  </a:lnTo>
                  <a:lnTo>
                    <a:pt x="191431" y="39538"/>
                  </a:lnTo>
                  <a:lnTo>
                    <a:pt x="145019" y="68345"/>
                  </a:lnTo>
                  <a:lnTo>
                    <a:pt x="103746" y="103751"/>
                  </a:lnTo>
                  <a:lnTo>
                    <a:pt x="68342" y="145024"/>
                  </a:lnTo>
                  <a:lnTo>
                    <a:pt x="39536" y="191437"/>
                  </a:lnTo>
                  <a:lnTo>
                    <a:pt x="18057" y="242259"/>
                  </a:lnTo>
                  <a:lnTo>
                    <a:pt x="4636" y="296762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lnTo>
                    <a:pt x="383267" y="707257"/>
                  </a:lnTo>
                  <a:lnTo>
                    <a:pt x="439338" y="698137"/>
                  </a:lnTo>
                  <a:lnTo>
                    <a:pt x="492093" y="680595"/>
                  </a:lnTo>
                  <a:lnTo>
                    <a:pt x="540802" y="655362"/>
                  </a:lnTo>
                  <a:lnTo>
                    <a:pt x="584736" y="623166"/>
                  </a:lnTo>
                  <a:lnTo>
                    <a:pt x="623166" y="584736"/>
                  </a:lnTo>
                  <a:lnTo>
                    <a:pt x="655362" y="540802"/>
                  </a:lnTo>
                  <a:lnTo>
                    <a:pt x="680595" y="492093"/>
                  </a:lnTo>
                  <a:lnTo>
                    <a:pt x="698137" y="439338"/>
                  </a:lnTo>
                  <a:lnTo>
                    <a:pt x="707257" y="383267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53" name="object 65"/>
            <p:cNvSpPr>
              <a:spLocks noChangeArrowheads="1"/>
            </p:cNvSpPr>
            <p:nvPr/>
          </p:nvSpPr>
          <p:spPr bwMode="auto">
            <a:xfrm>
              <a:off x="2554288" y="3132138"/>
              <a:ext cx="708025" cy="709612"/>
            </a:xfrm>
            <a:prstGeom prst="rect">
              <a:avLst/>
            </a:prstGeom>
            <a:blipFill dpi="0" rotWithShape="1"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54" name="object 66"/>
            <p:cNvSpPr>
              <a:spLocks noChangeArrowheads="1"/>
            </p:cNvSpPr>
            <p:nvPr/>
          </p:nvSpPr>
          <p:spPr bwMode="auto">
            <a:xfrm>
              <a:off x="2554288" y="3132138"/>
              <a:ext cx="708025" cy="709612"/>
            </a:xfrm>
            <a:custGeom>
              <a:avLst/>
              <a:gdLst>
                <a:gd name="T0" fmla="*/ 352315 w 708660"/>
                <a:gd name="T1" fmla="*/ 714161 h 708660"/>
                <a:gd name="T2" fmla="*/ 409463 w 708660"/>
                <a:gd name="T3" fmla="*/ 709487 h 708660"/>
                <a:gd name="T4" fmla="*/ 463675 w 708660"/>
                <a:gd name="T5" fmla="*/ 695956 h 708660"/>
                <a:gd name="T6" fmla="*/ 514226 w 708660"/>
                <a:gd name="T7" fmla="*/ 674305 h 708660"/>
                <a:gd name="T8" fmla="*/ 560390 w 708660"/>
                <a:gd name="T9" fmla="*/ 645266 h 708660"/>
                <a:gd name="T10" fmla="*/ 601442 w 708660"/>
                <a:gd name="T11" fmla="*/ 609576 h 708660"/>
                <a:gd name="T12" fmla="*/ 636655 w 708660"/>
                <a:gd name="T13" fmla="*/ 567969 h 708660"/>
                <a:gd name="T14" fmla="*/ 665307 w 708660"/>
                <a:gd name="T15" fmla="*/ 521179 h 708660"/>
                <a:gd name="T16" fmla="*/ 686669 w 708660"/>
                <a:gd name="T17" fmla="*/ 469946 h 708660"/>
                <a:gd name="T18" fmla="*/ 700019 w 708660"/>
                <a:gd name="T19" fmla="*/ 415002 h 708660"/>
                <a:gd name="T20" fmla="*/ 704630 w 708660"/>
                <a:gd name="T21" fmla="*/ 357079 h 708660"/>
                <a:gd name="T22" fmla="*/ 703463 w 708660"/>
                <a:gd name="T23" fmla="*/ 327795 h 708660"/>
                <a:gd name="T24" fmla="*/ 694392 w 708660"/>
                <a:gd name="T25" fmla="*/ 271271 h 708660"/>
                <a:gd name="T26" fmla="*/ 676944 w 708660"/>
                <a:gd name="T27" fmla="*/ 218093 h 708660"/>
                <a:gd name="T28" fmla="*/ 651846 w 708660"/>
                <a:gd name="T29" fmla="*/ 168989 h 708660"/>
                <a:gd name="T30" fmla="*/ 619824 w 708660"/>
                <a:gd name="T31" fmla="*/ 124699 h 708660"/>
                <a:gd name="T32" fmla="*/ 581599 w 708660"/>
                <a:gd name="T33" fmla="*/ 85959 h 708660"/>
                <a:gd name="T34" fmla="*/ 537901 w 708660"/>
                <a:gd name="T35" fmla="*/ 53500 h 708660"/>
                <a:gd name="T36" fmla="*/ 489453 w 708660"/>
                <a:gd name="T37" fmla="*/ 28062 h 708660"/>
                <a:gd name="T38" fmla="*/ 436981 w 708660"/>
                <a:gd name="T39" fmla="*/ 10379 h 708660"/>
                <a:gd name="T40" fmla="*/ 381211 w 708660"/>
                <a:gd name="T41" fmla="*/ 1186 h 708660"/>
                <a:gd name="T42" fmla="*/ 352315 w 708660"/>
                <a:gd name="T43" fmla="*/ 0 h 708660"/>
                <a:gd name="T44" fmla="*/ 323420 w 708660"/>
                <a:gd name="T45" fmla="*/ 1186 h 708660"/>
                <a:gd name="T46" fmla="*/ 267649 w 708660"/>
                <a:gd name="T47" fmla="*/ 10379 h 708660"/>
                <a:gd name="T48" fmla="*/ 215176 w 708660"/>
                <a:gd name="T49" fmla="*/ 28062 h 708660"/>
                <a:gd name="T50" fmla="*/ 166728 w 708660"/>
                <a:gd name="T51" fmla="*/ 53500 h 708660"/>
                <a:gd name="T52" fmla="*/ 123030 w 708660"/>
                <a:gd name="T53" fmla="*/ 85959 h 708660"/>
                <a:gd name="T54" fmla="*/ 84809 w 708660"/>
                <a:gd name="T55" fmla="*/ 124699 h 708660"/>
                <a:gd name="T56" fmla="*/ 52784 w 708660"/>
                <a:gd name="T57" fmla="*/ 168989 h 708660"/>
                <a:gd name="T58" fmla="*/ 27685 w 708660"/>
                <a:gd name="T59" fmla="*/ 218093 h 708660"/>
                <a:gd name="T60" fmla="*/ 10240 w 708660"/>
                <a:gd name="T61" fmla="*/ 271271 h 708660"/>
                <a:gd name="T62" fmla="*/ 1168 w 708660"/>
                <a:gd name="T63" fmla="*/ 327795 h 708660"/>
                <a:gd name="T64" fmla="*/ 0 w 708660"/>
                <a:gd name="T65" fmla="*/ 357079 h 708660"/>
                <a:gd name="T66" fmla="*/ 1168 w 708660"/>
                <a:gd name="T67" fmla="*/ 386367 h 708660"/>
                <a:gd name="T68" fmla="*/ 10240 w 708660"/>
                <a:gd name="T69" fmla="*/ 442891 h 708660"/>
                <a:gd name="T70" fmla="*/ 27685 w 708660"/>
                <a:gd name="T71" fmla="*/ 496073 h 708660"/>
                <a:gd name="T72" fmla="*/ 52784 w 708660"/>
                <a:gd name="T73" fmla="*/ 545174 h 708660"/>
                <a:gd name="T74" fmla="*/ 84809 w 708660"/>
                <a:gd name="T75" fmla="*/ 589467 h 708660"/>
                <a:gd name="T76" fmla="*/ 123030 w 708660"/>
                <a:gd name="T77" fmla="*/ 628206 h 708660"/>
                <a:gd name="T78" fmla="*/ 166728 w 708660"/>
                <a:gd name="T79" fmla="*/ 660662 h 708660"/>
                <a:gd name="T80" fmla="*/ 215176 w 708660"/>
                <a:gd name="T81" fmla="*/ 686099 h 708660"/>
                <a:gd name="T82" fmla="*/ 267649 w 708660"/>
                <a:gd name="T83" fmla="*/ 703783 h 708660"/>
                <a:gd name="T84" fmla="*/ 323420 w 708660"/>
                <a:gd name="T85" fmla="*/ 712977 h 708660"/>
                <a:gd name="T86" fmla="*/ 352315 w 708660"/>
                <a:gd name="T87" fmla="*/ 714161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60"/>
                <a:gd name="T133" fmla="*/ 0 h 708660"/>
                <a:gd name="T134" fmla="*/ 708660 w 708660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60" h="708660">
                  <a:moveTo>
                    <a:pt x="354215" y="708431"/>
                  </a:moveTo>
                  <a:lnTo>
                    <a:pt x="411672" y="703795"/>
                  </a:lnTo>
                  <a:lnTo>
                    <a:pt x="466176" y="690373"/>
                  </a:lnTo>
                  <a:lnTo>
                    <a:pt x="516999" y="668895"/>
                  </a:lnTo>
                  <a:lnTo>
                    <a:pt x="563412" y="640089"/>
                  </a:lnTo>
                  <a:lnTo>
                    <a:pt x="604685" y="604685"/>
                  </a:lnTo>
                  <a:lnTo>
                    <a:pt x="640089" y="563412"/>
                  </a:lnTo>
                  <a:lnTo>
                    <a:pt x="668895" y="516999"/>
                  </a:lnTo>
                  <a:lnTo>
                    <a:pt x="690373" y="466176"/>
                  </a:lnTo>
                  <a:lnTo>
                    <a:pt x="703795" y="411672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lnTo>
                    <a:pt x="325164" y="1174"/>
                  </a:lnTo>
                  <a:lnTo>
                    <a:pt x="269092" y="10295"/>
                  </a:lnTo>
                  <a:lnTo>
                    <a:pt x="216337" y="27837"/>
                  </a:lnTo>
                  <a:lnTo>
                    <a:pt x="167628" y="53071"/>
                  </a:lnTo>
                  <a:lnTo>
                    <a:pt x="123694" y="85269"/>
                  </a:lnTo>
                  <a:lnTo>
                    <a:pt x="85265" y="123699"/>
                  </a:lnTo>
                  <a:lnTo>
                    <a:pt x="53068" y="167634"/>
                  </a:lnTo>
                  <a:lnTo>
                    <a:pt x="27835" y="216343"/>
                  </a:lnTo>
                  <a:lnTo>
                    <a:pt x="10294" y="269096"/>
                  </a:lnTo>
                  <a:lnTo>
                    <a:pt x="1174" y="325165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55" name="object 67"/>
            <p:cNvSpPr>
              <a:spLocks noChangeArrowheads="1"/>
            </p:cNvSpPr>
            <p:nvPr/>
          </p:nvSpPr>
          <p:spPr bwMode="auto">
            <a:xfrm>
              <a:off x="2867025" y="2490788"/>
              <a:ext cx="80963" cy="82550"/>
            </a:xfrm>
            <a:custGeom>
              <a:avLst/>
              <a:gdLst>
                <a:gd name="T0" fmla="*/ 42661 w 80644"/>
                <a:gd name="T1" fmla="*/ 0 h 82550"/>
                <a:gd name="T2" fmla="*/ 27626 w 80644"/>
                <a:gd name="T3" fmla="*/ 2374 h 82550"/>
                <a:gd name="T4" fmla="*/ 15001 w 80644"/>
                <a:gd name="T5" fmla="*/ 8982 h 82550"/>
                <a:gd name="T6" fmla="*/ 5542 w 80644"/>
                <a:gd name="T7" fmla="*/ 18994 h 82550"/>
                <a:gd name="T8" fmla="*/ 0 w 80644"/>
                <a:gd name="T9" fmla="*/ 31579 h 82550"/>
                <a:gd name="T10" fmla="*/ 1451 w 80644"/>
                <a:gd name="T11" fmla="*/ 48640 h 82550"/>
                <a:gd name="T12" fmla="*/ 25791 w 80644"/>
                <a:gd name="T13" fmla="*/ 79414 h 82550"/>
                <a:gd name="T14" fmla="*/ 41014 w 80644"/>
                <a:gd name="T15" fmla="*/ 82303 h 82550"/>
                <a:gd name="T16" fmla="*/ 55468 w 80644"/>
                <a:gd name="T17" fmla="*/ 79819 h 82550"/>
                <a:gd name="T18" fmla="*/ 67765 w 80644"/>
                <a:gd name="T19" fmla="*/ 72954 h 82550"/>
                <a:gd name="T20" fmla="*/ 77003 w 80644"/>
                <a:gd name="T21" fmla="*/ 62586 h 82550"/>
                <a:gd name="T22" fmla="*/ 82282 w 80644"/>
                <a:gd name="T23" fmla="*/ 49594 h 82550"/>
                <a:gd name="T24" fmla="*/ 80658 w 80644"/>
                <a:gd name="T25" fmla="*/ 32822 h 82550"/>
                <a:gd name="T26" fmla="*/ 75196 w 80644"/>
                <a:gd name="T27" fmla="*/ 19223 h 82550"/>
                <a:gd name="T28" fmla="*/ 66583 w 80644"/>
                <a:gd name="T29" fmla="*/ 9052 h 82550"/>
                <a:gd name="T30" fmla="*/ 55511 w 80644"/>
                <a:gd name="T31" fmla="*/ 2560 h 82550"/>
                <a:gd name="T32" fmla="*/ 42661 w 80644"/>
                <a:gd name="T33" fmla="*/ 0 h 825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0644"/>
                <a:gd name="T52" fmla="*/ 0 h 82550"/>
                <a:gd name="T53" fmla="*/ 80644 w 80644"/>
                <a:gd name="T54" fmla="*/ 82550 h 825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0644" h="82550">
                  <a:moveTo>
                    <a:pt x="41663" y="0"/>
                  </a:moveTo>
                  <a:lnTo>
                    <a:pt x="26979" y="2374"/>
                  </a:lnTo>
                  <a:lnTo>
                    <a:pt x="14650" y="8982"/>
                  </a:lnTo>
                  <a:lnTo>
                    <a:pt x="5412" y="18994"/>
                  </a:lnTo>
                  <a:lnTo>
                    <a:pt x="0" y="31579"/>
                  </a:lnTo>
                  <a:lnTo>
                    <a:pt x="1415" y="48640"/>
                  </a:lnTo>
                  <a:lnTo>
                    <a:pt x="25187" y="79414"/>
                  </a:lnTo>
                  <a:lnTo>
                    <a:pt x="40054" y="82303"/>
                  </a:lnTo>
                  <a:lnTo>
                    <a:pt x="54169" y="79819"/>
                  </a:lnTo>
                  <a:lnTo>
                    <a:pt x="66178" y="72954"/>
                  </a:lnTo>
                  <a:lnTo>
                    <a:pt x="75201" y="62586"/>
                  </a:lnTo>
                  <a:lnTo>
                    <a:pt x="80356" y="49594"/>
                  </a:lnTo>
                  <a:lnTo>
                    <a:pt x="78769" y="32822"/>
                  </a:lnTo>
                  <a:lnTo>
                    <a:pt x="73436" y="19223"/>
                  </a:lnTo>
                  <a:lnTo>
                    <a:pt x="65026" y="9052"/>
                  </a:lnTo>
                  <a:lnTo>
                    <a:pt x="54212" y="2560"/>
                  </a:lnTo>
                  <a:lnTo>
                    <a:pt x="41663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56" name="object 68"/>
            <p:cNvSpPr>
              <a:spLocks noChangeArrowheads="1"/>
            </p:cNvSpPr>
            <p:nvPr/>
          </p:nvSpPr>
          <p:spPr bwMode="auto">
            <a:xfrm>
              <a:off x="2867025" y="2490788"/>
              <a:ext cx="80963" cy="82550"/>
            </a:xfrm>
            <a:custGeom>
              <a:avLst/>
              <a:gdLst>
                <a:gd name="T0" fmla="*/ 41014 w 80644"/>
                <a:gd name="T1" fmla="*/ 82303 h 82550"/>
                <a:gd name="T2" fmla="*/ 55468 w 80644"/>
                <a:gd name="T3" fmla="*/ 79819 h 82550"/>
                <a:gd name="T4" fmla="*/ 67765 w 80644"/>
                <a:gd name="T5" fmla="*/ 72954 h 82550"/>
                <a:gd name="T6" fmla="*/ 77003 w 80644"/>
                <a:gd name="T7" fmla="*/ 62586 h 82550"/>
                <a:gd name="T8" fmla="*/ 82282 w 80644"/>
                <a:gd name="T9" fmla="*/ 49594 h 82550"/>
                <a:gd name="T10" fmla="*/ 80658 w 80644"/>
                <a:gd name="T11" fmla="*/ 32822 h 82550"/>
                <a:gd name="T12" fmla="*/ 75196 w 80644"/>
                <a:gd name="T13" fmla="*/ 19223 h 82550"/>
                <a:gd name="T14" fmla="*/ 66583 w 80644"/>
                <a:gd name="T15" fmla="*/ 9052 h 82550"/>
                <a:gd name="T16" fmla="*/ 55511 w 80644"/>
                <a:gd name="T17" fmla="*/ 2560 h 82550"/>
                <a:gd name="T18" fmla="*/ 42661 w 80644"/>
                <a:gd name="T19" fmla="*/ 0 h 82550"/>
                <a:gd name="T20" fmla="*/ 27626 w 80644"/>
                <a:gd name="T21" fmla="*/ 2374 h 82550"/>
                <a:gd name="T22" fmla="*/ 15001 w 80644"/>
                <a:gd name="T23" fmla="*/ 8982 h 82550"/>
                <a:gd name="T24" fmla="*/ 5542 w 80644"/>
                <a:gd name="T25" fmla="*/ 18994 h 82550"/>
                <a:gd name="T26" fmla="*/ 0 w 80644"/>
                <a:gd name="T27" fmla="*/ 31579 h 82550"/>
                <a:gd name="T28" fmla="*/ 1451 w 80644"/>
                <a:gd name="T29" fmla="*/ 48640 h 82550"/>
                <a:gd name="T30" fmla="*/ 25791 w 80644"/>
                <a:gd name="T31" fmla="*/ 79414 h 82550"/>
                <a:gd name="T32" fmla="*/ 41014 w 80644"/>
                <a:gd name="T33" fmla="*/ 82303 h 825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0644"/>
                <a:gd name="T52" fmla="*/ 0 h 82550"/>
                <a:gd name="T53" fmla="*/ 80644 w 80644"/>
                <a:gd name="T54" fmla="*/ 82550 h 825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0644" h="82550">
                  <a:moveTo>
                    <a:pt x="40054" y="82303"/>
                  </a:moveTo>
                  <a:lnTo>
                    <a:pt x="54169" y="79819"/>
                  </a:lnTo>
                  <a:lnTo>
                    <a:pt x="66178" y="72954"/>
                  </a:lnTo>
                  <a:lnTo>
                    <a:pt x="75201" y="62586"/>
                  </a:lnTo>
                  <a:lnTo>
                    <a:pt x="80356" y="49594"/>
                  </a:lnTo>
                  <a:lnTo>
                    <a:pt x="78769" y="32822"/>
                  </a:lnTo>
                  <a:lnTo>
                    <a:pt x="73436" y="19223"/>
                  </a:lnTo>
                  <a:lnTo>
                    <a:pt x="65026" y="9052"/>
                  </a:lnTo>
                  <a:lnTo>
                    <a:pt x="54212" y="2560"/>
                  </a:lnTo>
                  <a:lnTo>
                    <a:pt x="41663" y="0"/>
                  </a:lnTo>
                  <a:lnTo>
                    <a:pt x="26979" y="2374"/>
                  </a:lnTo>
                  <a:lnTo>
                    <a:pt x="14650" y="8982"/>
                  </a:lnTo>
                  <a:lnTo>
                    <a:pt x="5412" y="18994"/>
                  </a:lnTo>
                  <a:lnTo>
                    <a:pt x="0" y="31579"/>
                  </a:lnTo>
                  <a:lnTo>
                    <a:pt x="1415" y="48640"/>
                  </a:lnTo>
                  <a:lnTo>
                    <a:pt x="25187" y="79414"/>
                  </a:lnTo>
                  <a:lnTo>
                    <a:pt x="40054" y="82303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57" name="object 69"/>
            <p:cNvSpPr>
              <a:spLocks noChangeArrowheads="1"/>
            </p:cNvSpPr>
            <p:nvPr/>
          </p:nvSpPr>
          <p:spPr bwMode="auto">
            <a:xfrm>
              <a:off x="2882900" y="3097213"/>
              <a:ext cx="47625" cy="52387"/>
            </a:xfrm>
            <a:custGeom>
              <a:avLst/>
              <a:gdLst>
                <a:gd name="T0" fmla="*/ 30066 w 48894"/>
                <a:gd name="T1" fmla="*/ 0 h 51435"/>
                <a:gd name="T2" fmla="*/ 15294 w 48894"/>
                <a:gd name="T3" fmla="*/ 1404 h 51435"/>
                <a:gd name="T4" fmla="*/ 5292 w 48894"/>
                <a:gd name="T5" fmla="*/ 8298 h 51435"/>
                <a:gd name="T6" fmla="*/ 0 w 48894"/>
                <a:gd name="T7" fmla="*/ 19134 h 51435"/>
                <a:gd name="T8" fmla="*/ 1762 w 48894"/>
                <a:gd name="T9" fmla="*/ 37663 h 51435"/>
                <a:gd name="T10" fmla="*/ 7842 w 48894"/>
                <a:gd name="T11" fmla="*/ 50183 h 51435"/>
                <a:gd name="T12" fmla="*/ 16964 w 48894"/>
                <a:gd name="T13" fmla="*/ 56421 h 51435"/>
                <a:gd name="T14" fmla="*/ 21768 w 48894"/>
                <a:gd name="T15" fmla="*/ 57106 h 51435"/>
                <a:gd name="T16" fmla="*/ 33358 w 48894"/>
                <a:gd name="T17" fmla="*/ 52954 h 51435"/>
                <a:gd name="T18" fmla="*/ 41530 w 48894"/>
                <a:gd name="T19" fmla="*/ 42059 h 51435"/>
                <a:gd name="T20" fmla="*/ 41402 w 48894"/>
                <a:gd name="T21" fmla="*/ 21703 h 51435"/>
                <a:gd name="T22" fmla="*/ 37226 w 48894"/>
                <a:gd name="T23" fmla="*/ 7832 h 51435"/>
                <a:gd name="T24" fmla="*/ 30066 w 48894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4"/>
                <a:gd name="T40" fmla="*/ 0 h 51435"/>
                <a:gd name="T41" fmla="*/ 48894 w 48894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4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58" name="object 70"/>
            <p:cNvSpPr>
              <a:spLocks noChangeArrowheads="1"/>
            </p:cNvSpPr>
            <p:nvPr/>
          </p:nvSpPr>
          <p:spPr bwMode="auto">
            <a:xfrm>
              <a:off x="2882900" y="3097213"/>
              <a:ext cx="47625" cy="52387"/>
            </a:xfrm>
            <a:custGeom>
              <a:avLst/>
              <a:gdLst>
                <a:gd name="T0" fmla="*/ 21768 w 48894"/>
                <a:gd name="T1" fmla="*/ 57106 h 51435"/>
                <a:gd name="T2" fmla="*/ 33358 w 48894"/>
                <a:gd name="T3" fmla="*/ 52954 h 51435"/>
                <a:gd name="T4" fmla="*/ 41530 w 48894"/>
                <a:gd name="T5" fmla="*/ 42059 h 51435"/>
                <a:gd name="T6" fmla="*/ 41402 w 48894"/>
                <a:gd name="T7" fmla="*/ 21703 h 51435"/>
                <a:gd name="T8" fmla="*/ 37226 w 48894"/>
                <a:gd name="T9" fmla="*/ 7832 h 51435"/>
                <a:gd name="T10" fmla="*/ 30066 w 48894"/>
                <a:gd name="T11" fmla="*/ 0 h 51435"/>
                <a:gd name="T12" fmla="*/ 15294 w 48894"/>
                <a:gd name="T13" fmla="*/ 1404 h 51435"/>
                <a:gd name="T14" fmla="*/ 5292 w 48894"/>
                <a:gd name="T15" fmla="*/ 8298 h 51435"/>
                <a:gd name="T16" fmla="*/ 0 w 48894"/>
                <a:gd name="T17" fmla="*/ 19134 h 51435"/>
                <a:gd name="T18" fmla="*/ 1762 w 48894"/>
                <a:gd name="T19" fmla="*/ 37663 h 51435"/>
                <a:gd name="T20" fmla="*/ 7842 w 48894"/>
                <a:gd name="T21" fmla="*/ 50183 h 51435"/>
                <a:gd name="T22" fmla="*/ 16964 w 48894"/>
                <a:gd name="T23" fmla="*/ 56421 h 51435"/>
                <a:gd name="T24" fmla="*/ 21768 w 48894"/>
                <a:gd name="T25" fmla="*/ 57106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4"/>
                <a:gd name="T40" fmla="*/ 0 h 51435"/>
                <a:gd name="T41" fmla="*/ 48894 w 48894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4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59" name="object 71"/>
            <p:cNvSpPr>
              <a:spLocks noChangeArrowheads="1"/>
            </p:cNvSpPr>
            <p:nvPr/>
          </p:nvSpPr>
          <p:spPr bwMode="auto">
            <a:xfrm>
              <a:off x="2882900" y="4064000"/>
              <a:ext cx="47625" cy="52388"/>
            </a:xfrm>
            <a:custGeom>
              <a:avLst/>
              <a:gdLst>
                <a:gd name="T0" fmla="*/ 30066 w 48894"/>
                <a:gd name="T1" fmla="*/ 0 h 51435"/>
                <a:gd name="T2" fmla="*/ 15294 w 48894"/>
                <a:gd name="T3" fmla="*/ 1404 h 51435"/>
                <a:gd name="T4" fmla="*/ 5292 w 48894"/>
                <a:gd name="T5" fmla="*/ 8299 h 51435"/>
                <a:gd name="T6" fmla="*/ 0 w 48894"/>
                <a:gd name="T7" fmla="*/ 19137 h 51435"/>
                <a:gd name="T8" fmla="*/ 1762 w 48894"/>
                <a:gd name="T9" fmla="*/ 37669 h 51435"/>
                <a:gd name="T10" fmla="*/ 7842 w 48894"/>
                <a:gd name="T11" fmla="*/ 50189 h 51435"/>
                <a:gd name="T12" fmla="*/ 16964 w 48894"/>
                <a:gd name="T13" fmla="*/ 56427 h 51435"/>
                <a:gd name="T14" fmla="*/ 21768 w 48894"/>
                <a:gd name="T15" fmla="*/ 57112 h 51435"/>
                <a:gd name="T16" fmla="*/ 33358 w 48894"/>
                <a:gd name="T17" fmla="*/ 52960 h 51435"/>
                <a:gd name="T18" fmla="*/ 41530 w 48894"/>
                <a:gd name="T19" fmla="*/ 42065 h 51435"/>
                <a:gd name="T20" fmla="*/ 41402 w 48894"/>
                <a:gd name="T21" fmla="*/ 21707 h 51435"/>
                <a:gd name="T22" fmla="*/ 37226 w 48894"/>
                <a:gd name="T23" fmla="*/ 7832 h 51435"/>
                <a:gd name="T24" fmla="*/ 30066 w 48894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4"/>
                <a:gd name="T40" fmla="*/ 0 h 51435"/>
                <a:gd name="T41" fmla="*/ 48894 w 48894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4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60" name="object 72"/>
            <p:cNvSpPr>
              <a:spLocks noChangeArrowheads="1"/>
            </p:cNvSpPr>
            <p:nvPr/>
          </p:nvSpPr>
          <p:spPr bwMode="auto">
            <a:xfrm>
              <a:off x="2882900" y="4064000"/>
              <a:ext cx="47625" cy="52388"/>
            </a:xfrm>
            <a:custGeom>
              <a:avLst/>
              <a:gdLst>
                <a:gd name="T0" fmla="*/ 21768 w 48894"/>
                <a:gd name="T1" fmla="*/ 57112 h 51435"/>
                <a:gd name="T2" fmla="*/ 33358 w 48894"/>
                <a:gd name="T3" fmla="*/ 52960 h 51435"/>
                <a:gd name="T4" fmla="*/ 41530 w 48894"/>
                <a:gd name="T5" fmla="*/ 42065 h 51435"/>
                <a:gd name="T6" fmla="*/ 41402 w 48894"/>
                <a:gd name="T7" fmla="*/ 21707 h 51435"/>
                <a:gd name="T8" fmla="*/ 37226 w 48894"/>
                <a:gd name="T9" fmla="*/ 7832 h 51435"/>
                <a:gd name="T10" fmla="*/ 30066 w 48894"/>
                <a:gd name="T11" fmla="*/ 0 h 51435"/>
                <a:gd name="T12" fmla="*/ 15294 w 48894"/>
                <a:gd name="T13" fmla="*/ 1404 h 51435"/>
                <a:gd name="T14" fmla="*/ 5292 w 48894"/>
                <a:gd name="T15" fmla="*/ 8299 h 51435"/>
                <a:gd name="T16" fmla="*/ 0 w 48894"/>
                <a:gd name="T17" fmla="*/ 19137 h 51435"/>
                <a:gd name="T18" fmla="*/ 1762 w 48894"/>
                <a:gd name="T19" fmla="*/ 37669 h 51435"/>
                <a:gd name="T20" fmla="*/ 7842 w 48894"/>
                <a:gd name="T21" fmla="*/ 50189 h 51435"/>
                <a:gd name="T22" fmla="*/ 16964 w 48894"/>
                <a:gd name="T23" fmla="*/ 56427 h 51435"/>
                <a:gd name="T24" fmla="*/ 21768 w 48894"/>
                <a:gd name="T25" fmla="*/ 57112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4"/>
                <a:gd name="T40" fmla="*/ 0 h 51435"/>
                <a:gd name="T41" fmla="*/ 48894 w 48894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4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grpSp>
        <p:nvGrpSpPr>
          <p:cNvPr id="281607" name="Gruppieren 35"/>
          <p:cNvGrpSpPr>
            <a:grpSpLocks/>
          </p:cNvGrpSpPr>
          <p:nvPr/>
        </p:nvGrpSpPr>
        <p:grpSpPr bwMode="auto">
          <a:xfrm>
            <a:off x="4629150" y="1865313"/>
            <a:ext cx="1504950" cy="3192462"/>
            <a:chOff x="4597946" y="1730786"/>
            <a:chExt cx="1504973" cy="3192052"/>
          </a:xfrm>
        </p:grpSpPr>
        <p:pic>
          <p:nvPicPr>
            <p:cNvPr id="281631" name="Grafik 95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7946" y="1730786"/>
              <a:ext cx="1504973" cy="1436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81632" name="Gruppieren 92"/>
            <p:cNvGrpSpPr>
              <a:grpSpLocks/>
            </p:cNvGrpSpPr>
            <p:nvPr/>
          </p:nvGrpSpPr>
          <p:grpSpPr bwMode="auto">
            <a:xfrm>
              <a:off x="4772224" y="2490788"/>
              <a:ext cx="823912" cy="2432050"/>
              <a:chOff x="9736138" y="2490788"/>
              <a:chExt cx="823912" cy="2432050"/>
            </a:xfrm>
          </p:grpSpPr>
          <p:sp>
            <p:nvSpPr>
              <p:cNvPr id="281634" name="object 32"/>
              <p:cNvSpPr>
                <a:spLocks noChangeArrowheads="1"/>
              </p:cNvSpPr>
              <p:nvPr/>
            </p:nvSpPr>
            <p:spPr bwMode="auto">
              <a:xfrm>
                <a:off x="10147300" y="2530475"/>
                <a:ext cx="0" cy="2273300"/>
              </a:xfrm>
              <a:custGeom>
                <a:avLst/>
                <a:gdLst>
                  <a:gd name="T0" fmla="*/ 0 h 2273300"/>
                  <a:gd name="T1" fmla="*/ 2272766 h 2273300"/>
                  <a:gd name="T2" fmla="*/ 0 60000 65536"/>
                  <a:gd name="T3" fmla="*/ 0 60000 65536"/>
                  <a:gd name="T4" fmla="*/ 0 h 2273300"/>
                  <a:gd name="T5" fmla="*/ 2273300 h 2273300"/>
                </a:gdLst>
                <a:ahLst/>
                <a:cxnLst>
                  <a:cxn ang="T2">
                    <a:pos x="0" y="T0"/>
                  </a:cxn>
                  <a:cxn ang="T3">
                    <a:pos x="0" y="T1"/>
                  </a:cxn>
                </a:cxnLst>
                <a:rect l="0" t="T4" r="0" b="T5"/>
                <a:pathLst>
                  <a:path h="2273300">
                    <a:moveTo>
                      <a:pt x="0" y="0"/>
                    </a:moveTo>
                    <a:lnTo>
                      <a:pt x="0" y="2272766"/>
                    </a:lnTo>
                  </a:path>
                </a:pathLst>
              </a:custGeom>
              <a:noFill/>
              <a:ln w="5143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35" name="object 33"/>
              <p:cNvSpPr>
                <a:spLocks noChangeArrowheads="1"/>
              </p:cNvSpPr>
              <p:nvPr/>
            </p:nvSpPr>
            <p:spPr bwMode="auto">
              <a:xfrm>
                <a:off x="9736138" y="4098925"/>
                <a:ext cx="823912" cy="823913"/>
              </a:xfrm>
              <a:custGeom>
                <a:avLst/>
                <a:gdLst>
                  <a:gd name="T0" fmla="*/ 410900 w 824229"/>
                  <a:gd name="T1" fmla="*/ 0 h 824229"/>
                  <a:gd name="T2" fmla="*/ 344248 w 824229"/>
                  <a:gd name="T3" fmla="*/ 5378 h 824229"/>
                  <a:gd name="T4" fmla="*/ 281024 w 824229"/>
                  <a:gd name="T5" fmla="*/ 20948 h 824229"/>
                  <a:gd name="T6" fmla="*/ 222066 w 824229"/>
                  <a:gd name="T7" fmla="*/ 45861 h 824229"/>
                  <a:gd name="T8" fmla="*/ 168226 w 824229"/>
                  <a:gd name="T9" fmla="*/ 79282 h 824229"/>
                  <a:gd name="T10" fmla="*/ 120351 w 824229"/>
                  <a:gd name="T11" fmla="*/ 120350 h 824229"/>
                  <a:gd name="T12" fmla="*/ 79277 w 824229"/>
                  <a:gd name="T13" fmla="*/ 168223 h 824229"/>
                  <a:gd name="T14" fmla="*/ 45861 w 824229"/>
                  <a:gd name="T15" fmla="*/ 222066 h 824229"/>
                  <a:gd name="T16" fmla="*/ 20948 w 824229"/>
                  <a:gd name="T17" fmla="*/ 281018 h 824229"/>
                  <a:gd name="T18" fmla="*/ 5378 w 824229"/>
                  <a:gd name="T19" fmla="*/ 344243 h 824229"/>
                  <a:gd name="T20" fmla="*/ 0 w 824229"/>
                  <a:gd name="T21" fmla="*/ 410887 h 824229"/>
                  <a:gd name="T22" fmla="*/ 1359 w 824229"/>
                  <a:gd name="T23" fmla="*/ 444587 h 824229"/>
                  <a:gd name="T24" fmla="*/ 11939 w 824229"/>
                  <a:gd name="T25" fmla="*/ 509632 h 824229"/>
                  <a:gd name="T26" fmla="*/ 32293 w 824229"/>
                  <a:gd name="T27" fmla="*/ 570831 h 824229"/>
                  <a:gd name="T28" fmla="*/ 61560 w 824229"/>
                  <a:gd name="T29" fmla="*/ 627333 h 824229"/>
                  <a:gd name="T30" fmla="*/ 98911 w 824229"/>
                  <a:gd name="T31" fmla="*/ 678299 h 824229"/>
                  <a:gd name="T32" fmla="*/ 143492 w 824229"/>
                  <a:gd name="T33" fmla="*/ 722879 h 824229"/>
                  <a:gd name="T34" fmla="*/ 194454 w 824229"/>
                  <a:gd name="T35" fmla="*/ 760227 h 824229"/>
                  <a:gd name="T36" fmla="*/ 250956 w 824229"/>
                  <a:gd name="T37" fmla="*/ 789500 h 824229"/>
                  <a:gd name="T38" fmla="*/ 312156 w 824229"/>
                  <a:gd name="T39" fmla="*/ 809848 h 824229"/>
                  <a:gd name="T40" fmla="*/ 377200 w 824229"/>
                  <a:gd name="T41" fmla="*/ 820428 h 824229"/>
                  <a:gd name="T42" fmla="*/ 410900 w 824229"/>
                  <a:gd name="T43" fmla="*/ 821790 h 824229"/>
                  <a:gd name="T44" fmla="*/ 444600 w 824229"/>
                  <a:gd name="T45" fmla="*/ 820428 h 824229"/>
                  <a:gd name="T46" fmla="*/ 509644 w 824229"/>
                  <a:gd name="T47" fmla="*/ 809848 h 824229"/>
                  <a:gd name="T48" fmla="*/ 570838 w 824229"/>
                  <a:gd name="T49" fmla="*/ 789500 h 824229"/>
                  <a:gd name="T50" fmla="*/ 627343 w 824229"/>
                  <a:gd name="T51" fmla="*/ 760227 h 824229"/>
                  <a:gd name="T52" fmla="*/ 678308 w 824229"/>
                  <a:gd name="T53" fmla="*/ 722879 h 824229"/>
                  <a:gd name="T54" fmla="*/ 722887 w 824229"/>
                  <a:gd name="T55" fmla="*/ 678299 h 824229"/>
                  <a:gd name="T56" fmla="*/ 760235 w 824229"/>
                  <a:gd name="T57" fmla="*/ 627333 h 824229"/>
                  <a:gd name="T58" fmla="*/ 789507 w 824229"/>
                  <a:gd name="T59" fmla="*/ 570831 h 824229"/>
                  <a:gd name="T60" fmla="*/ 809855 w 824229"/>
                  <a:gd name="T61" fmla="*/ 509632 h 824229"/>
                  <a:gd name="T62" fmla="*/ 820435 w 824229"/>
                  <a:gd name="T63" fmla="*/ 444587 h 824229"/>
                  <a:gd name="T64" fmla="*/ 821797 w 824229"/>
                  <a:gd name="T65" fmla="*/ 410887 h 824229"/>
                  <a:gd name="T66" fmla="*/ 820435 w 824229"/>
                  <a:gd name="T67" fmla="*/ 377189 h 824229"/>
                  <a:gd name="T68" fmla="*/ 809855 w 824229"/>
                  <a:gd name="T69" fmla="*/ 312148 h 824229"/>
                  <a:gd name="T70" fmla="*/ 789507 w 824229"/>
                  <a:gd name="T71" fmla="*/ 250957 h 824229"/>
                  <a:gd name="T72" fmla="*/ 760235 w 824229"/>
                  <a:gd name="T73" fmla="*/ 194450 h 824229"/>
                  <a:gd name="T74" fmla="*/ 722887 w 824229"/>
                  <a:gd name="T75" fmla="*/ 143489 h 824229"/>
                  <a:gd name="T76" fmla="*/ 678308 w 824229"/>
                  <a:gd name="T77" fmla="*/ 98910 h 824229"/>
                  <a:gd name="T78" fmla="*/ 627343 w 824229"/>
                  <a:gd name="T79" fmla="*/ 61559 h 824229"/>
                  <a:gd name="T80" fmla="*/ 570838 w 824229"/>
                  <a:gd name="T81" fmla="*/ 32292 h 824229"/>
                  <a:gd name="T82" fmla="*/ 509644 w 824229"/>
                  <a:gd name="T83" fmla="*/ 11939 h 824229"/>
                  <a:gd name="T84" fmla="*/ 444600 w 824229"/>
                  <a:gd name="T85" fmla="*/ 1359 h 824229"/>
                  <a:gd name="T86" fmla="*/ 410900 w 824229"/>
                  <a:gd name="T87" fmla="*/ 0 h 82422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824229"/>
                  <a:gd name="T133" fmla="*/ 0 h 824229"/>
                  <a:gd name="T134" fmla="*/ 824229 w 824229"/>
                  <a:gd name="T135" fmla="*/ 824229 h 82422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824229" h="824229">
                    <a:moveTo>
                      <a:pt x="411848" y="0"/>
                    </a:moveTo>
                    <a:lnTo>
                      <a:pt x="345044" y="5390"/>
                    </a:lnTo>
                    <a:lnTo>
                      <a:pt x="281672" y="20996"/>
                    </a:lnTo>
                    <a:lnTo>
                      <a:pt x="222580" y="45969"/>
                    </a:lnTo>
                    <a:lnTo>
                      <a:pt x="168616" y="79462"/>
                    </a:lnTo>
                    <a:lnTo>
                      <a:pt x="120627" y="120626"/>
                    </a:lnTo>
                    <a:lnTo>
                      <a:pt x="79462" y="168613"/>
                    </a:lnTo>
                    <a:lnTo>
                      <a:pt x="45969" y="222576"/>
                    </a:lnTo>
                    <a:lnTo>
                      <a:pt x="20996" y="281666"/>
                    </a:lnTo>
                    <a:lnTo>
                      <a:pt x="5390" y="345035"/>
                    </a:lnTo>
                    <a:lnTo>
                      <a:pt x="0" y="411835"/>
                    </a:lnTo>
                    <a:lnTo>
                      <a:pt x="1365" y="445613"/>
                    </a:lnTo>
                    <a:lnTo>
                      <a:pt x="11969" y="510807"/>
                    </a:lnTo>
                    <a:lnTo>
                      <a:pt x="32365" y="572145"/>
                    </a:lnTo>
                    <a:lnTo>
                      <a:pt x="61704" y="628779"/>
                    </a:lnTo>
                    <a:lnTo>
                      <a:pt x="99139" y="679861"/>
                    </a:lnTo>
                    <a:lnTo>
                      <a:pt x="143822" y="724544"/>
                    </a:lnTo>
                    <a:lnTo>
                      <a:pt x="194904" y="761979"/>
                    </a:lnTo>
                    <a:lnTo>
                      <a:pt x="251538" y="791318"/>
                    </a:lnTo>
                    <a:lnTo>
                      <a:pt x="312876" y="811714"/>
                    </a:lnTo>
                    <a:lnTo>
                      <a:pt x="378070" y="822318"/>
                    </a:lnTo>
                    <a:lnTo>
                      <a:pt x="411848" y="823683"/>
                    </a:lnTo>
                    <a:lnTo>
                      <a:pt x="445626" y="822318"/>
                    </a:lnTo>
                    <a:lnTo>
                      <a:pt x="510820" y="811714"/>
                    </a:lnTo>
                    <a:lnTo>
                      <a:pt x="572158" y="791318"/>
                    </a:lnTo>
                    <a:lnTo>
                      <a:pt x="628792" y="761979"/>
                    </a:lnTo>
                    <a:lnTo>
                      <a:pt x="679874" y="724544"/>
                    </a:lnTo>
                    <a:lnTo>
                      <a:pt x="724557" y="679861"/>
                    </a:lnTo>
                    <a:lnTo>
                      <a:pt x="761992" y="628779"/>
                    </a:lnTo>
                    <a:lnTo>
                      <a:pt x="791331" y="572145"/>
                    </a:lnTo>
                    <a:lnTo>
                      <a:pt x="811727" y="510807"/>
                    </a:lnTo>
                    <a:lnTo>
                      <a:pt x="822331" y="445613"/>
                    </a:lnTo>
                    <a:lnTo>
                      <a:pt x="823696" y="411835"/>
                    </a:lnTo>
                    <a:lnTo>
                      <a:pt x="822331" y="378059"/>
                    </a:lnTo>
                    <a:lnTo>
                      <a:pt x="811727" y="312868"/>
                    </a:lnTo>
                    <a:lnTo>
                      <a:pt x="791331" y="251533"/>
                    </a:lnTo>
                    <a:lnTo>
                      <a:pt x="761992" y="194900"/>
                    </a:lnTo>
                    <a:lnTo>
                      <a:pt x="724557" y="143819"/>
                    </a:lnTo>
                    <a:lnTo>
                      <a:pt x="679874" y="99138"/>
                    </a:lnTo>
                    <a:lnTo>
                      <a:pt x="628792" y="61703"/>
                    </a:lnTo>
                    <a:lnTo>
                      <a:pt x="572158" y="32364"/>
                    </a:lnTo>
                    <a:lnTo>
                      <a:pt x="510820" y="11969"/>
                    </a:lnTo>
                    <a:lnTo>
                      <a:pt x="445626" y="1365"/>
                    </a:lnTo>
                    <a:lnTo>
                      <a:pt x="41184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36" name="object 34"/>
              <p:cNvSpPr>
                <a:spLocks noChangeArrowheads="1"/>
              </p:cNvSpPr>
              <p:nvPr/>
            </p:nvSpPr>
            <p:spPr bwMode="auto">
              <a:xfrm>
                <a:off x="9736138" y="4162425"/>
                <a:ext cx="823912" cy="760413"/>
              </a:xfrm>
              <a:prstGeom prst="rect">
                <a:avLst/>
              </a:prstGeom>
              <a:blipFill dpi="0" rotWithShape="1">
                <a:blip r:embed="rId1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281637" name="object 35"/>
              <p:cNvSpPr>
                <a:spLocks noChangeArrowheads="1"/>
              </p:cNvSpPr>
              <p:nvPr/>
            </p:nvSpPr>
            <p:spPr bwMode="auto">
              <a:xfrm>
                <a:off x="9736138" y="4098925"/>
                <a:ext cx="823912" cy="823913"/>
              </a:xfrm>
              <a:custGeom>
                <a:avLst/>
                <a:gdLst>
                  <a:gd name="T0" fmla="*/ 410900 w 824229"/>
                  <a:gd name="T1" fmla="*/ 821790 h 824229"/>
                  <a:gd name="T2" fmla="*/ 477548 w 824229"/>
                  <a:gd name="T3" fmla="*/ 816413 h 824229"/>
                  <a:gd name="T4" fmla="*/ 540776 w 824229"/>
                  <a:gd name="T5" fmla="*/ 800842 h 824229"/>
                  <a:gd name="T6" fmla="*/ 599730 w 824229"/>
                  <a:gd name="T7" fmla="*/ 775926 h 824229"/>
                  <a:gd name="T8" fmla="*/ 653569 w 824229"/>
                  <a:gd name="T9" fmla="*/ 742510 h 824229"/>
                  <a:gd name="T10" fmla="*/ 701448 w 824229"/>
                  <a:gd name="T11" fmla="*/ 701441 h 824229"/>
                  <a:gd name="T12" fmla="*/ 742517 w 824229"/>
                  <a:gd name="T13" fmla="*/ 653561 h 824229"/>
                  <a:gd name="T14" fmla="*/ 775932 w 824229"/>
                  <a:gd name="T15" fmla="*/ 599723 h 824229"/>
                  <a:gd name="T16" fmla="*/ 800850 w 824229"/>
                  <a:gd name="T17" fmla="*/ 540766 h 824229"/>
                  <a:gd name="T18" fmla="*/ 816420 w 824229"/>
                  <a:gd name="T19" fmla="*/ 477540 h 824229"/>
                  <a:gd name="T20" fmla="*/ 821797 w 824229"/>
                  <a:gd name="T21" fmla="*/ 410887 h 824229"/>
                  <a:gd name="T22" fmla="*/ 820435 w 824229"/>
                  <a:gd name="T23" fmla="*/ 377189 h 824229"/>
                  <a:gd name="T24" fmla="*/ 809855 w 824229"/>
                  <a:gd name="T25" fmla="*/ 312148 h 824229"/>
                  <a:gd name="T26" fmla="*/ 789507 w 824229"/>
                  <a:gd name="T27" fmla="*/ 250957 h 824229"/>
                  <a:gd name="T28" fmla="*/ 760235 w 824229"/>
                  <a:gd name="T29" fmla="*/ 194450 h 824229"/>
                  <a:gd name="T30" fmla="*/ 722887 w 824229"/>
                  <a:gd name="T31" fmla="*/ 143489 h 824229"/>
                  <a:gd name="T32" fmla="*/ 678308 w 824229"/>
                  <a:gd name="T33" fmla="*/ 98910 h 824229"/>
                  <a:gd name="T34" fmla="*/ 627343 w 824229"/>
                  <a:gd name="T35" fmla="*/ 61559 h 824229"/>
                  <a:gd name="T36" fmla="*/ 570838 w 824229"/>
                  <a:gd name="T37" fmla="*/ 32292 h 824229"/>
                  <a:gd name="T38" fmla="*/ 509644 w 824229"/>
                  <a:gd name="T39" fmla="*/ 11939 h 824229"/>
                  <a:gd name="T40" fmla="*/ 444600 w 824229"/>
                  <a:gd name="T41" fmla="*/ 1359 h 824229"/>
                  <a:gd name="T42" fmla="*/ 410900 w 824229"/>
                  <a:gd name="T43" fmla="*/ 0 h 824229"/>
                  <a:gd name="T44" fmla="*/ 377200 w 824229"/>
                  <a:gd name="T45" fmla="*/ 1359 h 824229"/>
                  <a:gd name="T46" fmla="*/ 312156 w 824229"/>
                  <a:gd name="T47" fmla="*/ 11939 h 824229"/>
                  <a:gd name="T48" fmla="*/ 250956 w 824229"/>
                  <a:gd name="T49" fmla="*/ 32292 h 824229"/>
                  <a:gd name="T50" fmla="*/ 194454 w 824229"/>
                  <a:gd name="T51" fmla="*/ 61559 h 824229"/>
                  <a:gd name="T52" fmla="*/ 143492 w 824229"/>
                  <a:gd name="T53" fmla="*/ 98910 h 824229"/>
                  <a:gd name="T54" fmla="*/ 98911 w 824229"/>
                  <a:gd name="T55" fmla="*/ 143489 h 824229"/>
                  <a:gd name="T56" fmla="*/ 61560 w 824229"/>
                  <a:gd name="T57" fmla="*/ 194450 h 824229"/>
                  <a:gd name="T58" fmla="*/ 32293 w 824229"/>
                  <a:gd name="T59" fmla="*/ 250957 h 824229"/>
                  <a:gd name="T60" fmla="*/ 11939 w 824229"/>
                  <a:gd name="T61" fmla="*/ 312148 h 824229"/>
                  <a:gd name="T62" fmla="*/ 1359 w 824229"/>
                  <a:gd name="T63" fmla="*/ 377189 h 824229"/>
                  <a:gd name="T64" fmla="*/ 0 w 824229"/>
                  <a:gd name="T65" fmla="*/ 410887 h 824229"/>
                  <a:gd name="T66" fmla="*/ 1359 w 824229"/>
                  <a:gd name="T67" fmla="*/ 444587 h 824229"/>
                  <a:gd name="T68" fmla="*/ 11939 w 824229"/>
                  <a:gd name="T69" fmla="*/ 509632 h 824229"/>
                  <a:gd name="T70" fmla="*/ 32293 w 824229"/>
                  <a:gd name="T71" fmla="*/ 570831 h 824229"/>
                  <a:gd name="T72" fmla="*/ 61560 w 824229"/>
                  <a:gd name="T73" fmla="*/ 627333 h 824229"/>
                  <a:gd name="T74" fmla="*/ 98911 w 824229"/>
                  <a:gd name="T75" fmla="*/ 678299 h 824229"/>
                  <a:gd name="T76" fmla="*/ 143492 w 824229"/>
                  <a:gd name="T77" fmla="*/ 722879 h 824229"/>
                  <a:gd name="T78" fmla="*/ 194454 w 824229"/>
                  <a:gd name="T79" fmla="*/ 760227 h 824229"/>
                  <a:gd name="T80" fmla="*/ 250956 w 824229"/>
                  <a:gd name="T81" fmla="*/ 789500 h 824229"/>
                  <a:gd name="T82" fmla="*/ 312156 w 824229"/>
                  <a:gd name="T83" fmla="*/ 809848 h 824229"/>
                  <a:gd name="T84" fmla="*/ 377200 w 824229"/>
                  <a:gd name="T85" fmla="*/ 820428 h 824229"/>
                  <a:gd name="T86" fmla="*/ 410900 w 824229"/>
                  <a:gd name="T87" fmla="*/ 821790 h 82422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824229"/>
                  <a:gd name="T133" fmla="*/ 0 h 824229"/>
                  <a:gd name="T134" fmla="*/ 824229 w 824229"/>
                  <a:gd name="T135" fmla="*/ 824229 h 82422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824229" h="824229">
                    <a:moveTo>
                      <a:pt x="411848" y="823683"/>
                    </a:moveTo>
                    <a:lnTo>
                      <a:pt x="478652" y="818293"/>
                    </a:lnTo>
                    <a:lnTo>
                      <a:pt x="542024" y="802687"/>
                    </a:lnTo>
                    <a:lnTo>
                      <a:pt x="601116" y="777714"/>
                    </a:lnTo>
                    <a:lnTo>
                      <a:pt x="655080" y="744220"/>
                    </a:lnTo>
                    <a:lnTo>
                      <a:pt x="703068" y="703056"/>
                    </a:lnTo>
                    <a:lnTo>
                      <a:pt x="744233" y="655067"/>
                    </a:lnTo>
                    <a:lnTo>
                      <a:pt x="777726" y="601103"/>
                    </a:lnTo>
                    <a:lnTo>
                      <a:pt x="802700" y="542011"/>
                    </a:lnTo>
                    <a:lnTo>
                      <a:pt x="818306" y="478639"/>
                    </a:lnTo>
                    <a:lnTo>
                      <a:pt x="823696" y="411835"/>
                    </a:lnTo>
                    <a:lnTo>
                      <a:pt x="822331" y="378059"/>
                    </a:lnTo>
                    <a:lnTo>
                      <a:pt x="811727" y="312868"/>
                    </a:lnTo>
                    <a:lnTo>
                      <a:pt x="791331" y="251533"/>
                    </a:lnTo>
                    <a:lnTo>
                      <a:pt x="761992" y="194900"/>
                    </a:lnTo>
                    <a:lnTo>
                      <a:pt x="724557" y="143819"/>
                    </a:lnTo>
                    <a:lnTo>
                      <a:pt x="679874" y="99138"/>
                    </a:lnTo>
                    <a:lnTo>
                      <a:pt x="628792" y="61703"/>
                    </a:lnTo>
                    <a:lnTo>
                      <a:pt x="572158" y="32364"/>
                    </a:lnTo>
                    <a:lnTo>
                      <a:pt x="510820" y="11969"/>
                    </a:lnTo>
                    <a:lnTo>
                      <a:pt x="445626" y="1365"/>
                    </a:lnTo>
                    <a:lnTo>
                      <a:pt x="411848" y="0"/>
                    </a:lnTo>
                    <a:lnTo>
                      <a:pt x="378070" y="1365"/>
                    </a:lnTo>
                    <a:lnTo>
                      <a:pt x="312876" y="11969"/>
                    </a:lnTo>
                    <a:lnTo>
                      <a:pt x="251538" y="32364"/>
                    </a:lnTo>
                    <a:lnTo>
                      <a:pt x="194904" y="61703"/>
                    </a:lnTo>
                    <a:lnTo>
                      <a:pt x="143822" y="99138"/>
                    </a:lnTo>
                    <a:lnTo>
                      <a:pt x="99139" y="143819"/>
                    </a:lnTo>
                    <a:lnTo>
                      <a:pt x="61704" y="194900"/>
                    </a:lnTo>
                    <a:lnTo>
                      <a:pt x="32365" y="251533"/>
                    </a:lnTo>
                    <a:lnTo>
                      <a:pt x="11969" y="312868"/>
                    </a:lnTo>
                    <a:lnTo>
                      <a:pt x="1365" y="378059"/>
                    </a:lnTo>
                    <a:lnTo>
                      <a:pt x="0" y="411835"/>
                    </a:lnTo>
                    <a:lnTo>
                      <a:pt x="1365" y="445613"/>
                    </a:lnTo>
                    <a:lnTo>
                      <a:pt x="11969" y="510807"/>
                    </a:lnTo>
                    <a:lnTo>
                      <a:pt x="32365" y="572145"/>
                    </a:lnTo>
                    <a:lnTo>
                      <a:pt x="61704" y="628779"/>
                    </a:lnTo>
                    <a:lnTo>
                      <a:pt x="99139" y="679861"/>
                    </a:lnTo>
                    <a:lnTo>
                      <a:pt x="143822" y="724544"/>
                    </a:lnTo>
                    <a:lnTo>
                      <a:pt x="194904" y="761979"/>
                    </a:lnTo>
                    <a:lnTo>
                      <a:pt x="251538" y="791318"/>
                    </a:lnTo>
                    <a:lnTo>
                      <a:pt x="312876" y="811714"/>
                    </a:lnTo>
                    <a:lnTo>
                      <a:pt x="378070" y="822318"/>
                    </a:lnTo>
                    <a:lnTo>
                      <a:pt x="411848" y="823683"/>
                    </a:lnTo>
                    <a:close/>
                  </a:path>
                </a:pathLst>
              </a:custGeom>
              <a:noFill/>
              <a:ln w="20574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38" name="object 36"/>
              <p:cNvSpPr>
                <a:spLocks noChangeArrowheads="1"/>
              </p:cNvSpPr>
              <p:nvPr/>
            </p:nvSpPr>
            <p:spPr bwMode="auto">
              <a:xfrm>
                <a:off x="9793288" y="3132138"/>
                <a:ext cx="709612" cy="709612"/>
              </a:xfrm>
              <a:custGeom>
                <a:avLst/>
                <a:gdLst>
                  <a:gd name="T0" fmla="*/ 357083 w 708659"/>
                  <a:gd name="T1" fmla="*/ 0 h 708660"/>
                  <a:gd name="T2" fmla="*/ 299162 w 708659"/>
                  <a:gd name="T3" fmla="*/ 4672 h 708660"/>
                  <a:gd name="T4" fmla="*/ 244217 w 708659"/>
                  <a:gd name="T5" fmla="*/ 18203 h 708660"/>
                  <a:gd name="T6" fmla="*/ 192980 w 708659"/>
                  <a:gd name="T7" fmla="*/ 39856 h 708660"/>
                  <a:gd name="T8" fmla="*/ 146193 w 708659"/>
                  <a:gd name="T9" fmla="*/ 68897 h 708660"/>
                  <a:gd name="T10" fmla="*/ 104586 w 708659"/>
                  <a:gd name="T11" fmla="*/ 104590 h 708660"/>
                  <a:gd name="T12" fmla="*/ 68895 w 708659"/>
                  <a:gd name="T13" fmla="*/ 146197 h 708660"/>
                  <a:gd name="T14" fmla="*/ 39855 w 708659"/>
                  <a:gd name="T15" fmla="*/ 192986 h 708660"/>
                  <a:gd name="T16" fmla="*/ 18201 w 708659"/>
                  <a:gd name="T17" fmla="*/ 244218 h 708660"/>
                  <a:gd name="T18" fmla="*/ 4672 w 708659"/>
                  <a:gd name="T19" fmla="*/ 299162 h 708660"/>
                  <a:gd name="T20" fmla="*/ 0 w 708659"/>
                  <a:gd name="T21" fmla="*/ 357079 h 708660"/>
                  <a:gd name="T22" fmla="*/ 1186 w 708659"/>
                  <a:gd name="T23" fmla="*/ 386367 h 708660"/>
                  <a:gd name="T24" fmla="*/ 10378 w 708659"/>
                  <a:gd name="T25" fmla="*/ 442891 h 708660"/>
                  <a:gd name="T26" fmla="*/ 28061 w 708659"/>
                  <a:gd name="T27" fmla="*/ 496073 h 708660"/>
                  <a:gd name="T28" fmla="*/ 53498 w 708659"/>
                  <a:gd name="T29" fmla="*/ 545174 h 708660"/>
                  <a:gd name="T30" fmla="*/ 85955 w 708659"/>
                  <a:gd name="T31" fmla="*/ 589467 h 708660"/>
                  <a:gd name="T32" fmla="*/ 124695 w 708659"/>
                  <a:gd name="T33" fmla="*/ 628206 h 708660"/>
                  <a:gd name="T34" fmla="*/ 168985 w 708659"/>
                  <a:gd name="T35" fmla="*/ 660662 h 708660"/>
                  <a:gd name="T36" fmla="*/ 218088 w 708659"/>
                  <a:gd name="T37" fmla="*/ 686099 h 708660"/>
                  <a:gd name="T38" fmla="*/ 271270 w 708659"/>
                  <a:gd name="T39" fmla="*/ 703783 h 708660"/>
                  <a:gd name="T40" fmla="*/ 327796 w 708659"/>
                  <a:gd name="T41" fmla="*/ 712977 h 708660"/>
                  <a:gd name="T42" fmla="*/ 357083 w 708659"/>
                  <a:gd name="T43" fmla="*/ 714161 h 708660"/>
                  <a:gd name="T44" fmla="*/ 386369 w 708659"/>
                  <a:gd name="T45" fmla="*/ 712977 h 708660"/>
                  <a:gd name="T46" fmla="*/ 442895 w 708659"/>
                  <a:gd name="T47" fmla="*/ 703783 h 708660"/>
                  <a:gd name="T48" fmla="*/ 496077 w 708659"/>
                  <a:gd name="T49" fmla="*/ 686099 h 708660"/>
                  <a:gd name="T50" fmla="*/ 545179 w 708659"/>
                  <a:gd name="T51" fmla="*/ 660662 h 708660"/>
                  <a:gd name="T52" fmla="*/ 589470 w 708659"/>
                  <a:gd name="T53" fmla="*/ 628206 h 708660"/>
                  <a:gd name="T54" fmla="*/ 628211 w 708659"/>
                  <a:gd name="T55" fmla="*/ 589467 h 708660"/>
                  <a:gd name="T56" fmla="*/ 660668 w 708659"/>
                  <a:gd name="T57" fmla="*/ 545174 h 708660"/>
                  <a:gd name="T58" fmla="*/ 686104 w 708659"/>
                  <a:gd name="T59" fmla="*/ 496073 h 708660"/>
                  <a:gd name="T60" fmla="*/ 703789 w 708659"/>
                  <a:gd name="T61" fmla="*/ 442891 h 708660"/>
                  <a:gd name="T62" fmla="*/ 712983 w 708659"/>
                  <a:gd name="T63" fmla="*/ 386367 h 708660"/>
                  <a:gd name="T64" fmla="*/ 714167 w 708659"/>
                  <a:gd name="T65" fmla="*/ 357079 h 708660"/>
                  <a:gd name="T66" fmla="*/ 712983 w 708659"/>
                  <a:gd name="T67" fmla="*/ 327795 h 708660"/>
                  <a:gd name="T68" fmla="*/ 703789 w 708659"/>
                  <a:gd name="T69" fmla="*/ 271271 h 708660"/>
                  <a:gd name="T70" fmla="*/ 686104 w 708659"/>
                  <a:gd name="T71" fmla="*/ 218093 h 708660"/>
                  <a:gd name="T72" fmla="*/ 660668 w 708659"/>
                  <a:gd name="T73" fmla="*/ 168989 h 708660"/>
                  <a:gd name="T74" fmla="*/ 628211 w 708659"/>
                  <a:gd name="T75" fmla="*/ 124699 h 708660"/>
                  <a:gd name="T76" fmla="*/ 589470 w 708659"/>
                  <a:gd name="T77" fmla="*/ 85959 h 708660"/>
                  <a:gd name="T78" fmla="*/ 545179 w 708659"/>
                  <a:gd name="T79" fmla="*/ 53500 h 708660"/>
                  <a:gd name="T80" fmla="*/ 496077 w 708659"/>
                  <a:gd name="T81" fmla="*/ 28062 h 708660"/>
                  <a:gd name="T82" fmla="*/ 442895 w 708659"/>
                  <a:gd name="T83" fmla="*/ 10379 h 708660"/>
                  <a:gd name="T84" fmla="*/ 386369 w 708659"/>
                  <a:gd name="T85" fmla="*/ 1186 h 708660"/>
                  <a:gd name="T86" fmla="*/ 357083 w 708659"/>
                  <a:gd name="T87" fmla="*/ 0 h 70866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08659"/>
                  <a:gd name="T133" fmla="*/ 0 h 708660"/>
                  <a:gd name="T134" fmla="*/ 708659 w 708659"/>
                  <a:gd name="T135" fmla="*/ 708660 h 70866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08659" h="708660">
                    <a:moveTo>
                      <a:pt x="354215" y="0"/>
                    </a:moveTo>
                    <a:lnTo>
                      <a:pt x="296759" y="4636"/>
                    </a:lnTo>
                    <a:lnTo>
                      <a:pt x="242255" y="18059"/>
                    </a:lnTo>
                    <a:lnTo>
                      <a:pt x="191431" y="39538"/>
                    </a:lnTo>
                    <a:lnTo>
                      <a:pt x="145019" y="68345"/>
                    </a:lnTo>
                    <a:lnTo>
                      <a:pt x="103746" y="103751"/>
                    </a:lnTo>
                    <a:lnTo>
                      <a:pt x="68342" y="145024"/>
                    </a:lnTo>
                    <a:lnTo>
                      <a:pt x="39536" y="191437"/>
                    </a:lnTo>
                    <a:lnTo>
                      <a:pt x="18057" y="242259"/>
                    </a:lnTo>
                    <a:lnTo>
                      <a:pt x="4636" y="296762"/>
                    </a:lnTo>
                    <a:lnTo>
                      <a:pt x="0" y="354215"/>
                    </a:lnTo>
                    <a:lnTo>
                      <a:pt x="1174" y="383267"/>
                    </a:lnTo>
                    <a:lnTo>
                      <a:pt x="10294" y="439338"/>
                    </a:lnTo>
                    <a:lnTo>
                      <a:pt x="27835" y="492093"/>
                    </a:lnTo>
                    <a:lnTo>
                      <a:pt x="53068" y="540802"/>
                    </a:lnTo>
                    <a:lnTo>
                      <a:pt x="85265" y="584736"/>
                    </a:lnTo>
                    <a:lnTo>
                      <a:pt x="123694" y="623166"/>
                    </a:lnTo>
                    <a:lnTo>
                      <a:pt x="167628" y="655362"/>
                    </a:lnTo>
                    <a:lnTo>
                      <a:pt x="216337" y="680595"/>
                    </a:lnTo>
                    <a:lnTo>
                      <a:pt x="269092" y="698137"/>
                    </a:lnTo>
                    <a:lnTo>
                      <a:pt x="325164" y="707257"/>
                    </a:lnTo>
                    <a:lnTo>
                      <a:pt x="354215" y="708431"/>
                    </a:lnTo>
                    <a:lnTo>
                      <a:pt x="383267" y="707257"/>
                    </a:lnTo>
                    <a:lnTo>
                      <a:pt x="439338" y="698137"/>
                    </a:lnTo>
                    <a:lnTo>
                      <a:pt x="492093" y="680595"/>
                    </a:lnTo>
                    <a:lnTo>
                      <a:pt x="540802" y="655362"/>
                    </a:lnTo>
                    <a:lnTo>
                      <a:pt x="584736" y="623166"/>
                    </a:lnTo>
                    <a:lnTo>
                      <a:pt x="623166" y="584736"/>
                    </a:lnTo>
                    <a:lnTo>
                      <a:pt x="655362" y="540802"/>
                    </a:lnTo>
                    <a:lnTo>
                      <a:pt x="680595" y="492093"/>
                    </a:lnTo>
                    <a:lnTo>
                      <a:pt x="698137" y="439338"/>
                    </a:lnTo>
                    <a:lnTo>
                      <a:pt x="707257" y="383267"/>
                    </a:lnTo>
                    <a:lnTo>
                      <a:pt x="708431" y="354215"/>
                    </a:lnTo>
                    <a:lnTo>
                      <a:pt x="707257" y="325165"/>
                    </a:lnTo>
                    <a:lnTo>
                      <a:pt x="698137" y="269096"/>
                    </a:lnTo>
                    <a:lnTo>
                      <a:pt x="680595" y="216343"/>
                    </a:lnTo>
                    <a:lnTo>
                      <a:pt x="655362" y="167634"/>
                    </a:lnTo>
                    <a:lnTo>
                      <a:pt x="623166" y="123699"/>
                    </a:lnTo>
                    <a:lnTo>
                      <a:pt x="584736" y="85269"/>
                    </a:lnTo>
                    <a:lnTo>
                      <a:pt x="540802" y="53071"/>
                    </a:lnTo>
                    <a:lnTo>
                      <a:pt x="492093" y="27837"/>
                    </a:lnTo>
                    <a:lnTo>
                      <a:pt x="439338" y="10295"/>
                    </a:lnTo>
                    <a:lnTo>
                      <a:pt x="383267" y="1174"/>
                    </a:lnTo>
                    <a:lnTo>
                      <a:pt x="354215" y="0"/>
                    </a:lnTo>
                    <a:close/>
                  </a:path>
                </a:pathLst>
              </a:custGeom>
              <a:solidFill>
                <a:srgbClr val="012F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39" name="object 37"/>
              <p:cNvSpPr>
                <a:spLocks noChangeArrowheads="1"/>
              </p:cNvSpPr>
              <p:nvPr/>
            </p:nvSpPr>
            <p:spPr bwMode="auto">
              <a:xfrm>
                <a:off x="9793288" y="3132138"/>
                <a:ext cx="709612" cy="709612"/>
              </a:xfrm>
              <a:prstGeom prst="rect">
                <a:avLst/>
              </a:prstGeom>
              <a:blipFill dpi="0" rotWithShape="1">
                <a:blip r:embed="rId18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281640" name="object 38"/>
              <p:cNvSpPr>
                <a:spLocks noChangeArrowheads="1"/>
              </p:cNvSpPr>
              <p:nvPr/>
            </p:nvSpPr>
            <p:spPr bwMode="auto">
              <a:xfrm>
                <a:off x="9793288" y="3132138"/>
                <a:ext cx="709612" cy="709612"/>
              </a:xfrm>
              <a:custGeom>
                <a:avLst/>
                <a:gdLst>
                  <a:gd name="T0" fmla="*/ 357083 w 708659"/>
                  <a:gd name="T1" fmla="*/ 714161 h 708660"/>
                  <a:gd name="T2" fmla="*/ 415005 w 708659"/>
                  <a:gd name="T3" fmla="*/ 709487 h 708660"/>
                  <a:gd name="T4" fmla="*/ 469950 w 708659"/>
                  <a:gd name="T5" fmla="*/ 695956 h 708660"/>
                  <a:gd name="T6" fmla="*/ 521184 w 708659"/>
                  <a:gd name="T7" fmla="*/ 674305 h 708660"/>
                  <a:gd name="T8" fmla="*/ 567975 w 708659"/>
                  <a:gd name="T9" fmla="*/ 645266 h 708660"/>
                  <a:gd name="T10" fmla="*/ 609580 w 708659"/>
                  <a:gd name="T11" fmla="*/ 609576 h 708660"/>
                  <a:gd name="T12" fmla="*/ 645271 w 708659"/>
                  <a:gd name="T13" fmla="*/ 567969 h 708660"/>
                  <a:gd name="T14" fmla="*/ 674311 w 708659"/>
                  <a:gd name="T15" fmla="*/ 521179 h 708660"/>
                  <a:gd name="T16" fmla="*/ 695962 w 708659"/>
                  <a:gd name="T17" fmla="*/ 469946 h 708660"/>
                  <a:gd name="T18" fmla="*/ 709493 w 708659"/>
                  <a:gd name="T19" fmla="*/ 415002 h 708660"/>
                  <a:gd name="T20" fmla="*/ 714167 w 708659"/>
                  <a:gd name="T21" fmla="*/ 357079 h 708660"/>
                  <a:gd name="T22" fmla="*/ 712983 w 708659"/>
                  <a:gd name="T23" fmla="*/ 327795 h 708660"/>
                  <a:gd name="T24" fmla="*/ 703789 w 708659"/>
                  <a:gd name="T25" fmla="*/ 271271 h 708660"/>
                  <a:gd name="T26" fmla="*/ 686104 w 708659"/>
                  <a:gd name="T27" fmla="*/ 218093 h 708660"/>
                  <a:gd name="T28" fmla="*/ 660668 w 708659"/>
                  <a:gd name="T29" fmla="*/ 168989 h 708660"/>
                  <a:gd name="T30" fmla="*/ 628211 w 708659"/>
                  <a:gd name="T31" fmla="*/ 124699 h 708660"/>
                  <a:gd name="T32" fmla="*/ 589470 w 708659"/>
                  <a:gd name="T33" fmla="*/ 85959 h 708660"/>
                  <a:gd name="T34" fmla="*/ 545179 w 708659"/>
                  <a:gd name="T35" fmla="*/ 53500 h 708660"/>
                  <a:gd name="T36" fmla="*/ 496077 w 708659"/>
                  <a:gd name="T37" fmla="*/ 28062 h 708660"/>
                  <a:gd name="T38" fmla="*/ 442895 w 708659"/>
                  <a:gd name="T39" fmla="*/ 10379 h 708660"/>
                  <a:gd name="T40" fmla="*/ 386369 w 708659"/>
                  <a:gd name="T41" fmla="*/ 1186 h 708660"/>
                  <a:gd name="T42" fmla="*/ 357083 w 708659"/>
                  <a:gd name="T43" fmla="*/ 0 h 708660"/>
                  <a:gd name="T44" fmla="*/ 327796 w 708659"/>
                  <a:gd name="T45" fmla="*/ 1186 h 708660"/>
                  <a:gd name="T46" fmla="*/ 271270 w 708659"/>
                  <a:gd name="T47" fmla="*/ 10379 h 708660"/>
                  <a:gd name="T48" fmla="*/ 218088 w 708659"/>
                  <a:gd name="T49" fmla="*/ 28062 h 708660"/>
                  <a:gd name="T50" fmla="*/ 168985 w 708659"/>
                  <a:gd name="T51" fmla="*/ 53500 h 708660"/>
                  <a:gd name="T52" fmla="*/ 124695 w 708659"/>
                  <a:gd name="T53" fmla="*/ 85959 h 708660"/>
                  <a:gd name="T54" fmla="*/ 85955 w 708659"/>
                  <a:gd name="T55" fmla="*/ 124699 h 708660"/>
                  <a:gd name="T56" fmla="*/ 53498 w 708659"/>
                  <a:gd name="T57" fmla="*/ 168989 h 708660"/>
                  <a:gd name="T58" fmla="*/ 28061 w 708659"/>
                  <a:gd name="T59" fmla="*/ 218093 h 708660"/>
                  <a:gd name="T60" fmla="*/ 10378 w 708659"/>
                  <a:gd name="T61" fmla="*/ 271271 h 708660"/>
                  <a:gd name="T62" fmla="*/ 1186 w 708659"/>
                  <a:gd name="T63" fmla="*/ 327795 h 708660"/>
                  <a:gd name="T64" fmla="*/ 0 w 708659"/>
                  <a:gd name="T65" fmla="*/ 357079 h 708660"/>
                  <a:gd name="T66" fmla="*/ 1186 w 708659"/>
                  <a:gd name="T67" fmla="*/ 386367 h 708660"/>
                  <a:gd name="T68" fmla="*/ 10378 w 708659"/>
                  <a:gd name="T69" fmla="*/ 442891 h 708660"/>
                  <a:gd name="T70" fmla="*/ 28061 w 708659"/>
                  <a:gd name="T71" fmla="*/ 496073 h 708660"/>
                  <a:gd name="T72" fmla="*/ 53498 w 708659"/>
                  <a:gd name="T73" fmla="*/ 545174 h 708660"/>
                  <a:gd name="T74" fmla="*/ 85955 w 708659"/>
                  <a:gd name="T75" fmla="*/ 589467 h 708660"/>
                  <a:gd name="T76" fmla="*/ 124695 w 708659"/>
                  <a:gd name="T77" fmla="*/ 628206 h 708660"/>
                  <a:gd name="T78" fmla="*/ 168985 w 708659"/>
                  <a:gd name="T79" fmla="*/ 660662 h 708660"/>
                  <a:gd name="T80" fmla="*/ 218088 w 708659"/>
                  <a:gd name="T81" fmla="*/ 686099 h 708660"/>
                  <a:gd name="T82" fmla="*/ 271270 w 708659"/>
                  <a:gd name="T83" fmla="*/ 703783 h 708660"/>
                  <a:gd name="T84" fmla="*/ 327796 w 708659"/>
                  <a:gd name="T85" fmla="*/ 712977 h 708660"/>
                  <a:gd name="T86" fmla="*/ 357083 w 708659"/>
                  <a:gd name="T87" fmla="*/ 714161 h 70866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08659"/>
                  <a:gd name="T133" fmla="*/ 0 h 708660"/>
                  <a:gd name="T134" fmla="*/ 708659 w 708659"/>
                  <a:gd name="T135" fmla="*/ 708660 h 70866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08659" h="708660">
                    <a:moveTo>
                      <a:pt x="354215" y="708431"/>
                    </a:moveTo>
                    <a:lnTo>
                      <a:pt x="411672" y="703795"/>
                    </a:lnTo>
                    <a:lnTo>
                      <a:pt x="466176" y="690373"/>
                    </a:lnTo>
                    <a:lnTo>
                      <a:pt x="516999" y="668895"/>
                    </a:lnTo>
                    <a:lnTo>
                      <a:pt x="563412" y="640089"/>
                    </a:lnTo>
                    <a:lnTo>
                      <a:pt x="604685" y="604685"/>
                    </a:lnTo>
                    <a:lnTo>
                      <a:pt x="640089" y="563412"/>
                    </a:lnTo>
                    <a:lnTo>
                      <a:pt x="668895" y="516999"/>
                    </a:lnTo>
                    <a:lnTo>
                      <a:pt x="690373" y="466176"/>
                    </a:lnTo>
                    <a:lnTo>
                      <a:pt x="703795" y="411672"/>
                    </a:lnTo>
                    <a:lnTo>
                      <a:pt x="708431" y="354215"/>
                    </a:lnTo>
                    <a:lnTo>
                      <a:pt x="707257" y="325165"/>
                    </a:lnTo>
                    <a:lnTo>
                      <a:pt x="698137" y="269096"/>
                    </a:lnTo>
                    <a:lnTo>
                      <a:pt x="680595" y="216343"/>
                    </a:lnTo>
                    <a:lnTo>
                      <a:pt x="655362" y="167634"/>
                    </a:lnTo>
                    <a:lnTo>
                      <a:pt x="623166" y="123699"/>
                    </a:lnTo>
                    <a:lnTo>
                      <a:pt x="584736" y="85269"/>
                    </a:lnTo>
                    <a:lnTo>
                      <a:pt x="540802" y="53071"/>
                    </a:lnTo>
                    <a:lnTo>
                      <a:pt x="492093" y="27837"/>
                    </a:lnTo>
                    <a:lnTo>
                      <a:pt x="439338" y="10295"/>
                    </a:lnTo>
                    <a:lnTo>
                      <a:pt x="383267" y="1174"/>
                    </a:lnTo>
                    <a:lnTo>
                      <a:pt x="354215" y="0"/>
                    </a:lnTo>
                    <a:lnTo>
                      <a:pt x="325164" y="1174"/>
                    </a:lnTo>
                    <a:lnTo>
                      <a:pt x="269092" y="10295"/>
                    </a:lnTo>
                    <a:lnTo>
                      <a:pt x="216337" y="27837"/>
                    </a:lnTo>
                    <a:lnTo>
                      <a:pt x="167628" y="53071"/>
                    </a:lnTo>
                    <a:lnTo>
                      <a:pt x="123694" y="85269"/>
                    </a:lnTo>
                    <a:lnTo>
                      <a:pt x="85265" y="123699"/>
                    </a:lnTo>
                    <a:lnTo>
                      <a:pt x="53068" y="167634"/>
                    </a:lnTo>
                    <a:lnTo>
                      <a:pt x="27835" y="216343"/>
                    </a:lnTo>
                    <a:lnTo>
                      <a:pt x="10294" y="269096"/>
                    </a:lnTo>
                    <a:lnTo>
                      <a:pt x="1174" y="325165"/>
                    </a:lnTo>
                    <a:lnTo>
                      <a:pt x="0" y="354215"/>
                    </a:lnTo>
                    <a:lnTo>
                      <a:pt x="1174" y="383267"/>
                    </a:lnTo>
                    <a:lnTo>
                      <a:pt x="10294" y="439338"/>
                    </a:lnTo>
                    <a:lnTo>
                      <a:pt x="27835" y="492093"/>
                    </a:lnTo>
                    <a:lnTo>
                      <a:pt x="53068" y="540802"/>
                    </a:lnTo>
                    <a:lnTo>
                      <a:pt x="85265" y="584736"/>
                    </a:lnTo>
                    <a:lnTo>
                      <a:pt x="123694" y="623166"/>
                    </a:lnTo>
                    <a:lnTo>
                      <a:pt x="167628" y="655362"/>
                    </a:lnTo>
                    <a:lnTo>
                      <a:pt x="216337" y="680595"/>
                    </a:lnTo>
                    <a:lnTo>
                      <a:pt x="269092" y="698137"/>
                    </a:lnTo>
                    <a:lnTo>
                      <a:pt x="325164" y="707257"/>
                    </a:lnTo>
                    <a:lnTo>
                      <a:pt x="354215" y="708431"/>
                    </a:lnTo>
                    <a:close/>
                  </a:path>
                </a:pathLst>
              </a:custGeom>
              <a:noFill/>
              <a:ln w="20574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41" name="object 39"/>
              <p:cNvSpPr>
                <a:spLocks noChangeArrowheads="1"/>
              </p:cNvSpPr>
              <p:nvPr/>
            </p:nvSpPr>
            <p:spPr bwMode="auto">
              <a:xfrm>
                <a:off x="10107613" y="2490788"/>
                <a:ext cx="80962" cy="82550"/>
              </a:xfrm>
              <a:custGeom>
                <a:avLst/>
                <a:gdLst>
                  <a:gd name="T0" fmla="*/ 42655 w 80645"/>
                  <a:gd name="T1" fmla="*/ 0 h 82550"/>
                  <a:gd name="T2" fmla="*/ 27621 w 80645"/>
                  <a:gd name="T3" fmla="*/ 2374 h 82550"/>
                  <a:gd name="T4" fmla="*/ 14999 w 80645"/>
                  <a:gd name="T5" fmla="*/ 8982 h 82550"/>
                  <a:gd name="T6" fmla="*/ 5541 w 80645"/>
                  <a:gd name="T7" fmla="*/ 18994 h 82550"/>
                  <a:gd name="T8" fmla="*/ 0 w 80645"/>
                  <a:gd name="T9" fmla="*/ 31579 h 82550"/>
                  <a:gd name="T10" fmla="*/ 1451 w 80645"/>
                  <a:gd name="T11" fmla="*/ 48640 h 82550"/>
                  <a:gd name="T12" fmla="*/ 25787 w 80645"/>
                  <a:gd name="T13" fmla="*/ 79414 h 82550"/>
                  <a:gd name="T14" fmla="*/ 41008 w 80645"/>
                  <a:gd name="T15" fmla="*/ 82303 h 82550"/>
                  <a:gd name="T16" fmla="*/ 55459 w 80645"/>
                  <a:gd name="T17" fmla="*/ 79819 h 82550"/>
                  <a:gd name="T18" fmla="*/ 67753 w 80645"/>
                  <a:gd name="T19" fmla="*/ 72954 h 82550"/>
                  <a:gd name="T20" fmla="*/ 76992 w 80645"/>
                  <a:gd name="T21" fmla="*/ 62586 h 82550"/>
                  <a:gd name="T22" fmla="*/ 82270 w 80645"/>
                  <a:gd name="T23" fmla="*/ 49594 h 82550"/>
                  <a:gd name="T24" fmla="*/ 80646 w 80645"/>
                  <a:gd name="T25" fmla="*/ 32822 h 82550"/>
                  <a:gd name="T26" fmla="*/ 75185 w 80645"/>
                  <a:gd name="T27" fmla="*/ 19223 h 82550"/>
                  <a:gd name="T28" fmla="*/ 66577 w 80645"/>
                  <a:gd name="T29" fmla="*/ 9052 h 82550"/>
                  <a:gd name="T30" fmla="*/ 55503 w 80645"/>
                  <a:gd name="T31" fmla="*/ 2560 h 82550"/>
                  <a:gd name="T32" fmla="*/ 42655 w 80645"/>
                  <a:gd name="T33" fmla="*/ 0 h 8255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0645"/>
                  <a:gd name="T52" fmla="*/ 0 h 82550"/>
                  <a:gd name="T53" fmla="*/ 80645 w 80645"/>
                  <a:gd name="T54" fmla="*/ 82550 h 8255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0645" h="82550">
                    <a:moveTo>
                      <a:pt x="41663" y="0"/>
                    </a:moveTo>
                    <a:lnTo>
                      <a:pt x="26979" y="2374"/>
                    </a:lnTo>
                    <a:lnTo>
                      <a:pt x="14650" y="8982"/>
                    </a:lnTo>
                    <a:lnTo>
                      <a:pt x="5412" y="18994"/>
                    </a:lnTo>
                    <a:lnTo>
                      <a:pt x="0" y="31579"/>
                    </a:lnTo>
                    <a:lnTo>
                      <a:pt x="1415" y="48640"/>
                    </a:lnTo>
                    <a:lnTo>
                      <a:pt x="25187" y="79414"/>
                    </a:lnTo>
                    <a:lnTo>
                      <a:pt x="40054" y="82303"/>
                    </a:lnTo>
                    <a:lnTo>
                      <a:pt x="54169" y="79819"/>
                    </a:lnTo>
                    <a:lnTo>
                      <a:pt x="66178" y="72954"/>
                    </a:lnTo>
                    <a:lnTo>
                      <a:pt x="75201" y="62586"/>
                    </a:lnTo>
                    <a:lnTo>
                      <a:pt x="80356" y="49594"/>
                    </a:lnTo>
                    <a:lnTo>
                      <a:pt x="78769" y="32822"/>
                    </a:lnTo>
                    <a:lnTo>
                      <a:pt x="73436" y="19223"/>
                    </a:lnTo>
                    <a:lnTo>
                      <a:pt x="65026" y="9052"/>
                    </a:lnTo>
                    <a:lnTo>
                      <a:pt x="54212" y="2560"/>
                    </a:lnTo>
                    <a:lnTo>
                      <a:pt x="41663" y="0"/>
                    </a:lnTo>
                    <a:close/>
                  </a:path>
                </a:pathLst>
              </a:custGeom>
              <a:solidFill>
                <a:srgbClr val="012F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42" name="object 40"/>
              <p:cNvSpPr>
                <a:spLocks noChangeArrowheads="1"/>
              </p:cNvSpPr>
              <p:nvPr/>
            </p:nvSpPr>
            <p:spPr bwMode="auto">
              <a:xfrm>
                <a:off x="10107613" y="2490788"/>
                <a:ext cx="80962" cy="82550"/>
              </a:xfrm>
              <a:custGeom>
                <a:avLst/>
                <a:gdLst>
                  <a:gd name="T0" fmla="*/ 41008 w 80645"/>
                  <a:gd name="T1" fmla="*/ 82303 h 82550"/>
                  <a:gd name="T2" fmla="*/ 55459 w 80645"/>
                  <a:gd name="T3" fmla="*/ 79819 h 82550"/>
                  <a:gd name="T4" fmla="*/ 67753 w 80645"/>
                  <a:gd name="T5" fmla="*/ 72954 h 82550"/>
                  <a:gd name="T6" fmla="*/ 76992 w 80645"/>
                  <a:gd name="T7" fmla="*/ 62586 h 82550"/>
                  <a:gd name="T8" fmla="*/ 82270 w 80645"/>
                  <a:gd name="T9" fmla="*/ 49594 h 82550"/>
                  <a:gd name="T10" fmla="*/ 80646 w 80645"/>
                  <a:gd name="T11" fmla="*/ 32822 h 82550"/>
                  <a:gd name="T12" fmla="*/ 75185 w 80645"/>
                  <a:gd name="T13" fmla="*/ 19223 h 82550"/>
                  <a:gd name="T14" fmla="*/ 66577 w 80645"/>
                  <a:gd name="T15" fmla="*/ 9052 h 82550"/>
                  <a:gd name="T16" fmla="*/ 55503 w 80645"/>
                  <a:gd name="T17" fmla="*/ 2560 h 82550"/>
                  <a:gd name="T18" fmla="*/ 42655 w 80645"/>
                  <a:gd name="T19" fmla="*/ 0 h 82550"/>
                  <a:gd name="T20" fmla="*/ 27621 w 80645"/>
                  <a:gd name="T21" fmla="*/ 2374 h 82550"/>
                  <a:gd name="T22" fmla="*/ 14999 w 80645"/>
                  <a:gd name="T23" fmla="*/ 8982 h 82550"/>
                  <a:gd name="T24" fmla="*/ 5541 w 80645"/>
                  <a:gd name="T25" fmla="*/ 18994 h 82550"/>
                  <a:gd name="T26" fmla="*/ 0 w 80645"/>
                  <a:gd name="T27" fmla="*/ 31579 h 82550"/>
                  <a:gd name="T28" fmla="*/ 1451 w 80645"/>
                  <a:gd name="T29" fmla="*/ 48640 h 82550"/>
                  <a:gd name="T30" fmla="*/ 25787 w 80645"/>
                  <a:gd name="T31" fmla="*/ 79414 h 82550"/>
                  <a:gd name="T32" fmla="*/ 41008 w 80645"/>
                  <a:gd name="T33" fmla="*/ 82303 h 8255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0645"/>
                  <a:gd name="T52" fmla="*/ 0 h 82550"/>
                  <a:gd name="T53" fmla="*/ 80645 w 80645"/>
                  <a:gd name="T54" fmla="*/ 82550 h 8255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0645" h="82550">
                    <a:moveTo>
                      <a:pt x="40054" y="82303"/>
                    </a:moveTo>
                    <a:lnTo>
                      <a:pt x="54169" y="79819"/>
                    </a:lnTo>
                    <a:lnTo>
                      <a:pt x="66178" y="72954"/>
                    </a:lnTo>
                    <a:lnTo>
                      <a:pt x="75201" y="62586"/>
                    </a:lnTo>
                    <a:lnTo>
                      <a:pt x="80356" y="49594"/>
                    </a:lnTo>
                    <a:lnTo>
                      <a:pt x="78769" y="32822"/>
                    </a:lnTo>
                    <a:lnTo>
                      <a:pt x="73436" y="19223"/>
                    </a:lnTo>
                    <a:lnTo>
                      <a:pt x="65026" y="9052"/>
                    </a:lnTo>
                    <a:lnTo>
                      <a:pt x="54212" y="2560"/>
                    </a:lnTo>
                    <a:lnTo>
                      <a:pt x="41663" y="0"/>
                    </a:lnTo>
                    <a:lnTo>
                      <a:pt x="26979" y="2374"/>
                    </a:lnTo>
                    <a:lnTo>
                      <a:pt x="14650" y="8982"/>
                    </a:lnTo>
                    <a:lnTo>
                      <a:pt x="5412" y="18994"/>
                    </a:lnTo>
                    <a:lnTo>
                      <a:pt x="0" y="31579"/>
                    </a:lnTo>
                    <a:lnTo>
                      <a:pt x="1415" y="48640"/>
                    </a:lnTo>
                    <a:lnTo>
                      <a:pt x="25187" y="79414"/>
                    </a:lnTo>
                    <a:lnTo>
                      <a:pt x="40054" y="82303"/>
                    </a:lnTo>
                    <a:close/>
                  </a:path>
                </a:pathLst>
              </a:custGeom>
              <a:noFill/>
              <a:ln w="5143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43" name="object 41"/>
              <p:cNvSpPr>
                <a:spLocks noChangeArrowheads="1"/>
              </p:cNvSpPr>
              <p:nvPr/>
            </p:nvSpPr>
            <p:spPr bwMode="auto">
              <a:xfrm>
                <a:off x="10121900" y="3097213"/>
                <a:ext cx="49213" cy="52387"/>
              </a:xfrm>
              <a:custGeom>
                <a:avLst/>
                <a:gdLst>
                  <a:gd name="T0" fmla="*/ 36599 w 48895"/>
                  <a:gd name="T1" fmla="*/ 0 h 51435"/>
                  <a:gd name="T2" fmla="*/ 18619 w 48895"/>
                  <a:gd name="T3" fmla="*/ 1404 h 51435"/>
                  <a:gd name="T4" fmla="*/ 6444 w 48895"/>
                  <a:gd name="T5" fmla="*/ 8298 h 51435"/>
                  <a:gd name="T6" fmla="*/ 0 w 48895"/>
                  <a:gd name="T7" fmla="*/ 19134 h 51435"/>
                  <a:gd name="T8" fmla="*/ 2146 w 48895"/>
                  <a:gd name="T9" fmla="*/ 37663 h 51435"/>
                  <a:gd name="T10" fmla="*/ 9546 w 48895"/>
                  <a:gd name="T11" fmla="*/ 50183 h 51435"/>
                  <a:gd name="T12" fmla="*/ 20651 w 48895"/>
                  <a:gd name="T13" fmla="*/ 56421 h 51435"/>
                  <a:gd name="T14" fmla="*/ 26498 w 48895"/>
                  <a:gd name="T15" fmla="*/ 57106 h 51435"/>
                  <a:gd name="T16" fmla="*/ 40609 w 48895"/>
                  <a:gd name="T17" fmla="*/ 52954 h 51435"/>
                  <a:gd name="T18" fmla="*/ 50555 w 48895"/>
                  <a:gd name="T19" fmla="*/ 42059 h 51435"/>
                  <a:gd name="T20" fmla="*/ 50401 w 48895"/>
                  <a:gd name="T21" fmla="*/ 21703 h 51435"/>
                  <a:gd name="T22" fmla="*/ 45315 w 48895"/>
                  <a:gd name="T23" fmla="*/ 7832 h 51435"/>
                  <a:gd name="T24" fmla="*/ 36599 w 48895"/>
                  <a:gd name="T25" fmla="*/ 0 h 5143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8895"/>
                  <a:gd name="T40" fmla="*/ 0 h 51435"/>
                  <a:gd name="T41" fmla="*/ 48895 w 48895"/>
                  <a:gd name="T42" fmla="*/ 51435 h 5143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8895" h="51435">
                    <a:moveTo>
                      <a:pt x="35204" y="0"/>
                    </a:moveTo>
                    <a:lnTo>
                      <a:pt x="17909" y="1257"/>
                    </a:lnTo>
                    <a:lnTo>
                      <a:pt x="6198" y="7433"/>
                    </a:lnTo>
                    <a:lnTo>
                      <a:pt x="0" y="17141"/>
                    </a:lnTo>
                    <a:lnTo>
                      <a:pt x="2063" y="33739"/>
                    </a:lnTo>
                    <a:lnTo>
                      <a:pt x="9182" y="44955"/>
                    </a:lnTo>
                    <a:lnTo>
                      <a:pt x="19863" y="50543"/>
                    </a:lnTo>
                    <a:lnTo>
                      <a:pt x="25487" y="51156"/>
                    </a:lnTo>
                    <a:lnTo>
                      <a:pt x="39060" y="47436"/>
                    </a:lnTo>
                    <a:lnTo>
                      <a:pt x="48627" y="37678"/>
                    </a:lnTo>
                    <a:lnTo>
                      <a:pt x="48479" y="19442"/>
                    </a:lnTo>
                    <a:lnTo>
                      <a:pt x="43587" y="7016"/>
                    </a:lnTo>
                    <a:lnTo>
                      <a:pt x="35204" y="0"/>
                    </a:lnTo>
                    <a:close/>
                  </a:path>
                </a:pathLst>
              </a:custGeom>
              <a:solidFill>
                <a:srgbClr val="012F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44" name="object 42"/>
              <p:cNvSpPr>
                <a:spLocks noChangeArrowheads="1"/>
              </p:cNvSpPr>
              <p:nvPr/>
            </p:nvSpPr>
            <p:spPr bwMode="auto">
              <a:xfrm>
                <a:off x="10121900" y="3097213"/>
                <a:ext cx="49213" cy="52387"/>
              </a:xfrm>
              <a:custGeom>
                <a:avLst/>
                <a:gdLst>
                  <a:gd name="T0" fmla="*/ 26498 w 48895"/>
                  <a:gd name="T1" fmla="*/ 57106 h 51435"/>
                  <a:gd name="T2" fmla="*/ 40609 w 48895"/>
                  <a:gd name="T3" fmla="*/ 52954 h 51435"/>
                  <a:gd name="T4" fmla="*/ 50555 w 48895"/>
                  <a:gd name="T5" fmla="*/ 42059 h 51435"/>
                  <a:gd name="T6" fmla="*/ 50401 w 48895"/>
                  <a:gd name="T7" fmla="*/ 21703 h 51435"/>
                  <a:gd name="T8" fmla="*/ 45315 w 48895"/>
                  <a:gd name="T9" fmla="*/ 7832 h 51435"/>
                  <a:gd name="T10" fmla="*/ 36599 w 48895"/>
                  <a:gd name="T11" fmla="*/ 0 h 51435"/>
                  <a:gd name="T12" fmla="*/ 18619 w 48895"/>
                  <a:gd name="T13" fmla="*/ 1404 h 51435"/>
                  <a:gd name="T14" fmla="*/ 6444 w 48895"/>
                  <a:gd name="T15" fmla="*/ 8298 h 51435"/>
                  <a:gd name="T16" fmla="*/ 0 w 48895"/>
                  <a:gd name="T17" fmla="*/ 19134 h 51435"/>
                  <a:gd name="T18" fmla="*/ 2146 w 48895"/>
                  <a:gd name="T19" fmla="*/ 37663 h 51435"/>
                  <a:gd name="T20" fmla="*/ 9546 w 48895"/>
                  <a:gd name="T21" fmla="*/ 50183 h 51435"/>
                  <a:gd name="T22" fmla="*/ 20651 w 48895"/>
                  <a:gd name="T23" fmla="*/ 56421 h 51435"/>
                  <a:gd name="T24" fmla="*/ 26498 w 48895"/>
                  <a:gd name="T25" fmla="*/ 57106 h 5143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8895"/>
                  <a:gd name="T40" fmla="*/ 0 h 51435"/>
                  <a:gd name="T41" fmla="*/ 48895 w 48895"/>
                  <a:gd name="T42" fmla="*/ 51435 h 5143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8895" h="51435">
                    <a:moveTo>
                      <a:pt x="25487" y="51156"/>
                    </a:moveTo>
                    <a:lnTo>
                      <a:pt x="39060" y="47436"/>
                    </a:lnTo>
                    <a:lnTo>
                      <a:pt x="48627" y="37678"/>
                    </a:lnTo>
                    <a:lnTo>
                      <a:pt x="48479" y="19442"/>
                    </a:lnTo>
                    <a:lnTo>
                      <a:pt x="43587" y="7016"/>
                    </a:lnTo>
                    <a:lnTo>
                      <a:pt x="35204" y="0"/>
                    </a:lnTo>
                    <a:lnTo>
                      <a:pt x="17909" y="1257"/>
                    </a:lnTo>
                    <a:lnTo>
                      <a:pt x="6198" y="7433"/>
                    </a:lnTo>
                    <a:lnTo>
                      <a:pt x="0" y="17141"/>
                    </a:lnTo>
                    <a:lnTo>
                      <a:pt x="2063" y="33739"/>
                    </a:lnTo>
                    <a:lnTo>
                      <a:pt x="9182" y="44955"/>
                    </a:lnTo>
                    <a:lnTo>
                      <a:pt x="19863" y="50543"/>
                    </a:lnTo>
                    <a:lnTo>
                      <a:pt x="25487" y="51156"/>
                    </a:lnTo>
                    <a:close/>
                  </a:path>
                </a:pathLst>
              </a:custGeom>
              <a:noFill/>
              <a:ln w="5143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45" name="object 43"/>
              <p:cNvSpPr>
                <a:spLocks noChangeArrowheads="1"/>
              </p:cNvSpPr>
              <p:nvPr/>
            </p:nvSpPr>
            <p:spPr bwMode="auto">
              <a:xfrm>
                <a:off x="10121900" y="4064000"/>
                <a:ext cx="49213" cy="52388"/>
              </a:xfrm>
              <a:custGeom>
                <a:avLst/>
                <a:gdLst>
                  <a:gd name="T0" fmla="*/ 36599 w 48895"/>
                  <a:gd name="T1" fmla="*/ 0 h 51435"/>
                  <a:gd name="T2" fmla="*/ 18619 w 48895"/>
                  <a:gd name="T3" fmla="*/ 1404 h 51435"/>
                  <a:gd name="T4" fmla="*/ 6444 w 48895"/>
                  <a:gd name="T5" fmla="*/ 8299 h 51435"/>
                  <a:gd name="T6" fmla="*/ 0 w 48895"/>
                  <a:gd name="T7" fmla="*/ 19137 h 51435"/>
                  <a:gd name="T8" fmla="*/ 2146 w 48895"/>
                  <a:gd name="T9" fmla="*/ 37669 h 51435"/>
                  <a:gd name="T10" fmla="*/ 9546 w 48895"/>
                  <a:gd name="T11" fmla="*/ 50189 h 51435"/>
                  <a:gd name="T12" fmla="*/ 20651 w 48895"/>
                  <a:gd name="T13" fmla="*/ 56427 h 51435"/>
                  <a:gd name="T14" fmla="*/ 26498 w 48895"/>
                  <a:gd name="T15" fmla="*/ 57112 h 51435"/>
                  <a:gd name="T16" fmla="*/ 40609 w 48895"/>
                  <a:gd name="T17" fmla="*/ 52960 h 51435"/>
                  <a:gd name="T18" fmla="*/ 50555 w 48895"/>
                  <a:gd name="T19" fmla="*/ 42065 h 51435"/>
                  <a:gd name="T20" fmla="*/ 50401 w 48895"/>
                  <a:gd name="T21" fmla="*/ 21707 h 51435"/>
                  <a:gd name="T22" fmla="*/ 45315 w 48895"/>
                  <a:gd name="T23" fmla="*/ 7832 h 51435"/>
                  <a:gd name="T24" fmla="*/ 36599 w 48895"/>
                  <a:gd name="T25" fmla="*/ 0 h 5143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8895"/>
                  <a:gd name="T40" fmla="*/ 0 h 51435"/>
                  <a:gd name="T41" fmla="*/ 48895 w 48895"/>
                  <a:gd name="T42" fmla="*/ 51435 h 5143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8895" h="51435">
                    <a:moveTo>
                      <a:pt x="35204" y="0"/>
                    </a:moveTo>
                    <a:lnTo>
                      <a:pt x="17909" y="1257"/>
                    </a:lnTo>
                    <a:lnTo>
                      <a:pt x="6198" y="7433"/>
                    </a:lnTo>
                    <a:lnTo>
                      <a:pt x="0" y="17141"/>
                    </a:lnTo>
                    <a:lnTo>
                      <a:pt x="2063" y="33739"/>
                    </a:lnTo>
                    <a:lnTo>
                      <a:pt x="9182" y="44955"/>
                    </a:lnTo>
                    <a:lnTo>
                      <a:pt x="19863" y="50543"/>
                    </a:lnTo>
                    <a:lnTo>
                      <a:pt x="25487" y="51156"/>
                    </a:lnTo>
                    <a:lnTo>
                      <a:pt x="39060" y="47436"/>
                    </a:lnTo>
                    <a:lnTo>
                      <a:pt x="48627" y="37678"/>
                    </a:lnTo>
                    <a:lnTo>
                      <a:pt x="48479" y="19442"/>
                    </a:lnTo>
                    <a:lnTo>
                      <a:pt x="43587" y="7016"/>
                    </a:lnTo>
                    <a:lnTo>
                      <a:pt x="35204" y="0"/>
                    </a:lnTo>
                    <a:close/>
                  </a:path>
                </a:pathLst>
              </a:custGeom>
              <a:solidFill>
                <a:srgbClr val="012F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  <p:sp>
            <p:nvSpPr>
              <p:cNvPr id="281646" name="object 44"/>
              <p:cNvSpPr>
                <a:spLocks noChangeArrowheads="1"/>
              </p:cNvSpPr>
              <p:nvPr/>
            </p:nvSpPr>
            <p:spPr bwMode="auto">
              <a:xfrm>
                <a:off x="10121900" y="4064000"/>
                <a:ext cx="49213" cy="52388"/>
              </a:xfrm>
              <a:custGeom>
                <a:avLst/>
                <a:gdLst>
                  <a:gd name="T0" fmla="*/ 26498 w 48895"/>
                  <a:gd name="T1" fmla="*/ 57112 h 51435"/>
                  <a:gd name="T2" fmla="*/ 40609 w 48895"/>
                  <a:gd name="T3" fmla="*/ 52960 h 51435"/>
                  <a:gd name="T4" fmla="*/ 50555 w 48895"/>
                  <a:gd name="T5" fmla="*/ 42065 h 51435"/>
                  <a:gd name="T6" fmla="*/ 50401 w 48895"/>
                  <a:gd name="T7" fmla="*/ 21707 h 51435"/>
                  <a:gd name="T8" fmla="*/ 45315 w 48895"/>
                  <a:gd name="T9" fmla="*/ 7832 h 51435"/>
                  <a:gd name="T10" fmla="*/ 36599 w 48895"/>
                  <a:gd name="T11" fmla="*/ 0 h 51435"/>
                  <a:gd name="T12" fmla="*/ 18619 w 48895"/>
                  <a:gd name="T13" fmla="*/ 1404 h 51435"/>
                  <a:gd name="T14" fmla="*/ 6444 w 48895"/>
                  <a:gd name="T15" fmla="*/ 8299 h 51435"/>
                  <a:gd name="T16" fmla="*/ 0 w 48895"/>
                  <a:gd name="T17" fmla="*/ 19137 h 51435"/>
                  <a:gd name="T18" fmla="*/ 2146 w 48895"/>
                  <a:gd name="T19" fmla="*/ 37669 h 51435"/>
                  <a:gd name="T20" fmla="*/ 9546 w 48895"/>
                  <a:gd name="T21" fmla="*/ 50189 h 51435"/>
                  <a:gd name="T22" fmla="*/ 20651 w 48895"/>
                  <a:gd name="T23" fmla="*/ 56427 h 51435"/>
                  <a:gd name="T24" fmla="*/ 26498 w 48895"/>
                  <a:gd name="T25" fmla="*/ 57112 h 5143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8895"/>
                  <a:gd name="T40" fmla="*/ 0 h 51435"/>
                  <a:gd name="T41" fmla="*/ 48895 w 48895"/>
                  <a:gd name="T42" fmla="*/ 51435 h 5143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8895" h="51435">
                    <a:moveTo>
                      <a:pt x="25487" y="51156"/>
                    </a:moveTo>
                    <a:lnTo>
                      <a:pt x="39060" y="47436"/>
                    </a:lnTo>
                    <a:lnTo>
                      <a:pt x="48627" y="37678"/>
                    </a:lnTo>
                    <a:lnTo>
                      <a:pt x="48479" y="19442"/>
                    </a:lnTo>
                    <a:lnTo>
                      <a:pt x="43587" y="7016"/>
                    </a:lnTo>
                    <a:lnTo>
                      <a:pt x="35204" y="0"/>
                    </a:lnTo>
                    <a:lnTo>
                      <a:pt x="17909" y="1257"/>
                    </a:lnTo>
                    <a:lnTo>
                      <a:pt x="6198" y="7433"/>
                    </a:lnTo>
                    <a:lnTo>
                      <a:pt x="0" y="17141"/>
                    </a:lnTo>
                    <a:lnTo>
                      <a:pt x="2063" y="33739"/>
                    </a:lnTo>
                    <a:lnTo>
                      <a:pt x="9182" y="44955"/>
                    </a:lnTo>
                    <a:lnTo>
                      <a:pt x="19863" y="50543"/>
                    </a:lnTo>
                    <a:lnTo>
                      <a:pt x="25487" y="51156"/>
                    </a:lnTo>
                    <a:close/>
                  </a:path>
                </a:pathLst>
              </a:custGeom>
              <a:noFill/>
              <a:ln w="5143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en-US" dirty="0"/>
              </a:p>
            </p:txBody>
          </p:sp>
        </p:grpSp>
        <p:sp>
          <p:nvSpPr>
            <p:cNvPr id="92" name="Ellipse 91"/>
            <p:cNvSpPr/>
            <p:nvPr/>
          </p:nvSpPr>
          <p:spPr>
            <a:xfrm>
              <a:off x="4828138" y="3103797"/>
              <a:ext cx="709623" cy="709522"/>
            </a:xfrm>
            <a:prstGeom prst="ellipse">
              <a:avLst/>
            </a:prstGeom>
            <a:blipFill dpi="0" rotWithShape="1"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81608" name="Gruppieren 96"/>
          <p:cNvGrpSpPr>
            <a:grpSpLocks/>
          </p:cNvGrpSpPr>
          <p:nvPr/>
        </p:nvGrpSpPr>
        <p:grpSpPr bwMode="auto">
          <a:xfrm>
            <a:off x="280988" y="1917700"/>
            <a:ext cx="1123950" cy="3138488"/>
            <a:chOff x="314325" y="1784350"/>
            <a:chExt cx="1123950" cy="3138488"/>
          </a:xfrm>
        </p:grpSpPr>
        <p:sp>
          <p:nvSpPr>
            <p:cNvPr id="281617" name="object 73"/>
            <p:cNvSpPr>
              <a:spLocks noChangeArrowheads="1"/>
            </p:cNvSpPr>
            <p:nvPr/>
          </p:nvSpPr>
          <p:spPr bwMode="auto">
            <a:xfrm>
              <a:off x="314325" y="1784350"/>
              <a:ext cx="1123950" cy="1238250"/>
            </a:xfrm>
            <a:prstGeom prst="rect">
              <a:avLst/>
            </a:prstGeom>
            <a:blipFill dpi="0" rotWithShape="1"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18" name="object 74"/>
            <p:cNvSpPr>
              <a:spLocks noChangeArrowheads="1"/>
            </p:cNvSpPr>
            <p:nvPr/>
          </p:nvSpPr>
          <p:spPr bwMode="auto">
            <a:xfrm>
              <a:off x="919163" y="2530475"/>
              <a:ext cx="0" cy="2273300"/>
            </a:xfrm>
            <a:custGeom>
              <a:avLst/>
              <a:gdLst>
                <a:gd name="T0" fmla="*/ 0 h 2273300"/>
                <a:gd name="T1" fmla="*/ 2272766 h 2273300"/>
                <a:gd name="T2" fmla="*/ 0 60000 65536"/>
                <a:gd name="T3" fmla="*/ 0 60000 65536"/>
                <a:gd name="T4" fmla="*/ 0 h 2273300"/>
                <a:gd name="T5" fmla="*/ 2273300 h 2273300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T4" r="0" b="T5"/>
              <a:pathLst>
                <a:path h="2273300">
                  <a:moveTo>
                    <a:pt x="0" y="0"/>
                  </a:moveTo>
                  <a:lnTo>
                    <a:pt x="0" y="2272766"/>
                  </a:lnTo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19" name="object 75"/>
            <p:cNvSpPr>
              <a:spLocks noChangeArrowheads="1"/>
            </p:cNvSpPr>
            <p:nvPr/>
          </p:nvSpPr>
          <p:spPr bwMode="auto">
            <a:xfrm>
              <a:off x="508000" y="4098925"/>
              <a:ext cx="823913" cy="823913"/>
            </a:xfrm>
            <a:custGeom>
              <a:avLst/>
              <a:gdLst>
                <a:gd name="T0" fmla="*/ 410900 w 824230"/>
                <a:gd name="T1" fmla="*/ 0 h 824229"/>
                <a:gd name="T2" fmla="*/ 344248 w 824230"/>
                <a:gd name="T3" fmla="*/ 5378 h 824229"/>
                <a:gd name="T4" fmla="*/ 281024 w 824230"/>
                <a:gd name="T5" fmla="*/ 20948 h 824229"/>
                <a:gd name="T6" fmla="*/ 222066 w 824230"/>
                <a:gd name="T7" fmla="*/ 45861 h 824229"/>
                <a:gd name="T8" fmla="*/ 168226 w 824230"/>
                <a:gd name="T9" fmla="*/ 79282 h 824229"/>
                <a:gd name="T10" fmla="*/ 120351 w 824230"/>
                <a:gd name="T11" fmla="*/ 120350 h 824229"/>
                <a:gd name="T12" fmla="*/ 79277 w 824230"/>
                <a:gd name="T13" fmla="*/ 168223 h 824229"/>
                <a:gd name="T14" fmla="*/ 45861 w 824230"/>
                <a:gd name="T15" fmla="*/ 222066 h 824229"/>
                <a:gd name="T16" fmla="*/ 20948 w 824230"/>
                <a:gd name="T17" fmla="*/ 281018 h 824229"/>
                <a:gd name="T18" fmla="*/ 5378 w 824230"/>
                <a:gd name="T19" fmla="*/ 344243 h 824229"/>
                <a:gd name="T20" fmla="*/ 0 w 824230"/>
                <a:gd name="T21" fmla="*/ 410887 h 824229"/>
                <a:gd name="T22" fmla="*/ 1359 w 824230"/>
                <a:gd name="T23" fmla="*/ 444587 h 824229"/>
                <a:gd name="T24" fmla="*/ 11939 w 824230"/>
                <a:gd name="T25" fmla="*/ 509632 h 824229"/>
                <a:gd name="T26" fmla="*/ 32293 w 824230"/>
                <a:gd name="T27" fmla="*/ 570831 h 824229"/>
                <a:gd name="T28" fmla="*/ 61560 w 824230"/>
                <a:gd name="T29" fmla="*/ 627333 h 824229"/>
                <a:gd name="T30" fmla="*/ 98911 w 824230"/>
                <a:gd name="T31" fmla="*/ 678299 h 824229"/>
                <a:gd name="T32" fmla="*/ 143492 w 824230"/>
                <a:gd name="T33" fmla="*/ 722879 h 824229"/>
                <a:gd name="T34" fmla="*/ 194454 w 824230"/>
                <a:gd name="T35" fmla="*/ 760227 h 824229"/>
                <a:gd name="T36" fmla="*/ 250956 w 824230"/>
                <a:gd name="T37" fmla="*/ 789500 h 824229"/>
                <a:gd name="T38" fmla="*/ 312156 w 824230"/>
                <a:gd name="T39" fmla="*/ 809848 h 824229"/>
                <a:gd name="T40" fmla="*/ 377200 w 824230"/>
                <a:gd name="T41" fmla="*/ 820428 h 824229"/>
                <a:gd name="T42" fmla="*/ 410900 w 824230"/>
                <a:gd name="T43" fmla="*/ 821790 h 824229"/>
                <a:gd name="T44" fmla="*/ 444600 w 824230"/>
                <a:gd name="T45" fmla="*/ 820428 h 824229"/>
                <a:gd name="T46" fmla="*/ 509644 w 824230"/>
                <a:gd name="T47" fmla="*/ 809848 h 824229"/>
                <a:gd name="T48" fmla="*/ 570838 w 824230"/>
                <a:gd name="T49" fmla="*/ 789500 h 824229"/>
                <a:gd name="T50" fmla="*/ 627343 w 824230"/>
                <a:gd name="T51" fmla="*/ 760227 h 824229"/>
                <a:gd name="T52" fmla="*/ 678308 w 824230"/>
                <a:gd name="T53" fmla="*/ 722879 h 824229"/>
                <a:gd name="T54" fmla="*/ 722887 w 824230"/>
                <a:gd name="T55" fmla="*/ 678299 h 824229"/>
                <a:gd name="T56" fmla="*/ 760235 w 824230"/>
                <a:gd name="T57" fmla="*/ 627333 h 824229"/>
                <a:gd name="T58" fmla="*/ 789507 w 824230"/>
                <a:gd name="T59" fmla="*/ 570831 h 824229"/>
                <a:gd name="T60" fmla="*/ 809855 w 824230"/>
                <a:gd name="T61" fmla="*/ 509632 h 824229"/>
                <a:gd name="T62" fmla="*/ 820435 w 824230"/>
                <a:gd name="T63" fmla="*/ 444587 h 824229"/>
                <a:gd name="T64" fmla="*/ 821797 w 824230"/>
                <a:gd name="T65" fmla="*/ 410887 h 824229"/>
                <a:gd name="T66" fmla="*/ 820435 w 824230"/>
                <a:gd name="T67" fmla="*/ 377189 h 824229"/>
                <a:gd name="T68" fmla="*/ 809855 w 824230"/>
                <a:gd name="T69" fmla="*/ 312148 h 824229"/>
                <a:gd name="T70" fmla="*/ 789507 w 824230"/>
                <a:gd name="T71" fmla="*/ 250957 h 824229"/>
                <a:gd name="T72" fmla="*/ 760235 w 824230"/>
                <a:gd name="T73" fmla="*/ 194450 h 824229"/>
                <a:gd name="T74" fmla="*/ 722887 w 824230"/>
                <a:gd name="T75" fmla="*/ 143489 h 824229"/>
                <a:gd name="T76" fmla="*/ 678308 w 824230"/>
                <a:gd name="T77" fmla="*/ 98910 h 824229"/>
                <a:gd name="T78" fmla="*/ 627343 w 824230"/>
                <a:gd name="T79" fmla="*/ 61559 h 824229"/>
                <a:gd name="T80" fmla="*/ 570838 w 824230"/>
                <a:gd name="T81" fmla="*/ 32292 h 824229"/>
                <a:gd name="T82" fmla="*/ 509644 w 824230"/>
                <a:gd name="T83" fmla="*/ 11939 h 824229"/>
                <a:gd name="T84" fmla="*/ 444600 w 824230"/>
                <a:gd name="T85" fmla="*/ 1359 h 824229"/>
                <a:gd name="T86" fmla="*/ 410900 w 824230"/>
                <a:gd name="T87" fmla="*/ 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30"/>
                <a:gd name="T133" fmla="*/ 0 h 824229"/>
                <a:gd name="T134" fmla="*/ 824230 w 824230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30" h="824229">
                  <a:moveTo>
                    <a:pt x="411848" y="0"/>
                  </a:moveTo>
                  <a:lnTo>
                    <a:pt x="345044" y="5390"/>
                  </a:lnTo>
                  <a:lnTo>
                    <a:pt x="281672" y="20996"/>
                  </a:lnTo>
                  <a:lnTo>
                    <a:pt x="222580" y="45969"/>
                  </a:lnTo>
                  <a:lnTo>
                    <a:pt x="168616" y="79462"/>
                  </a:lnTo>
                  <a:lnTo>
                    <a:pt x="120627" y="120626"/>
                  </a:lnTo>
                  <a:lnTo>
                    <a:pt x="79462" y="168613"/>
                  </a:lnTo>
                  <a:lnTo>
                    <a:pt x="45969" y="222576"/>
                  </a:lnTo>
                  <a:lnTo>
                    <a:pt x="20996" y="281666"/>
                  </a:lnTo>
                  <a:lnTo>
                    <a:pt x="5390" y="345035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lnTo>
                    <a:pt x="445626" y="822318"/>
                  </a:lnTo>
                  <a:lnTo>
                    <a:pt x="510820" y="811714"/>
                  </a:lnTo>
                  <a:lnTo>
                    <a:pt x="572158" y="791318"/>
                  </a:lnTo>
                  <a:lnTo>
                    <a:pt x="628792" y="761979"/>
                  </a:lnTo>
                  <a:lnTo>
                    <a:pt x="679874" y="724544"/>
                  </a:lnTo>
                  <a:lnTo>
                    <a:pt x="724557" y="679861"/>
                  </a:lnTo>
                  <a:lnTo>
                    <a:pt x="761992" y="628779"/>
                  </a:lnTo>
                  <a:lnTo>
                    <a:pt x="791331" y="572145"/>
                  </a:lnTo>
                  <a:lnTo>
                    <a:pt x="811727" y="510807"/>
                  </a:lnTo>
                  <a:lnTo>
                    <a:pt x="822331" y="445613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20" name="object 76"/>
            <p:cNvSpPr>
              <a:spLocks noChangeArrowheads="1"/>
            </p:cNvSpPr>
            <p:nvPr/>
          </p:nvSpPr>
          <p:spPr bwMode="auto">
            <a:xfrm>
              <a:off x="508000" y="4103688"/>
              <a:ext cx="823913" cy="819150"/>
            </a:xfrm>
            <a:prstGeom prst="rect">
              <a:avLst/>
            </a:prstGeom>
            <a:blipFill dpi="0" rotWithShape="1"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21" name="object 77"/>
            <p:cNvSpPr>
              <a:spLocks noChangeArrowheads="1"/>
            </p:cNvSpPr>
            <p:nvPr/>
          </p:nvSpPr>
          <p:spPr bwMode="auto">
            <a:xfrm>
              <a:off x="508000" y="4098925"/>
              <a:ext cx="823913" cy="823913"/>
            </a:xfrm>
            <a:custGeom>
              <a:avLst/>
              <a:gdLst>
                <a:gd name="T0" fmla="*/ 410900 w 824230"/>
                <a:gd name="T1" fmla="*/ 821790 h 824229"/>
                <a:gd name="T2" fmla="*/ 477548 w 824230"/>
                <a:gd name="T3" fmla="*/ 816413 h 824229"/>
                <a:gd name="T4" fmla="*/ 540776 w 824230"/>
                <a:gd name="T5" fmla="*/ 800842 h 824229"/>
                <a:gd name="T6" fmla="*/ 599730 w 824230"/>
                <a:gd name="T7" fmla="*/ 775926 h 824229"/>
                <a:gd name="T8" fmla="*/ 653569 w 824230"/>
                <a:gd name="T9" fmla="*/ 742510 h 824229"/>
                <a:gd name="T10" fmla="*/ 701448 w 824230"/>
                <a:gd name="T11" fmla="*/ 701441 h 824229"/>
                <a:gd name="T12" fmla="*/ 742517 w 824230"/>
                <a:gd name="T13" fmla="*/ 653561 h 824229"/>
                <a:gd name="T14" fmla="*/ 775932 w 824230"/>
                <a:gd name="T15" fmla="*/ 599723 h 824229"/>
                <a:gd name="T16" fmla="*/ 800850 w 824230"/>
                <a:gd name="T17" fmla="*/ 540766 h 824229"/>
                <a:gd name="T18" fmla="*/ 816420 w 824230"/>
                <a:gd name="T19" fmla="*/ 477540 h 824229"/>
                <a:gd name="T20" fmla="*/ 821797 w 824230"/>
                <a:gd name="T21" fmla="*/ 410887 h 824229"/>
                <a:gd name="T22" fmla="*/ 820435 w 824230"/>
                <a:gd name="T23" fmla="*/ 377189 h 824229"/>
                <a:gd name="T24" fmla="*/ 809855 w 824230"/>
                <a:gd name="T25" fmla="*/ 312148 h 824229"/>
                <a:gd name="T26" fmla="*/ 789507 w 824230"/>
                <a:gd name="T27" fmla="*/ 250957 h 824229"/>
                <a:gd name="T28" fmla="*/ 760235 w 824230"/>
                <a:gd name="T29" fmla="*/ 194450 h 824229"/>
                <a:gd name="T30" fmla="*/ 722887 w 824230"/>
                <a:gd name="T31" fmla="*/ 143489 h 824229"/>
                <a:gd name="T32" fmla="*/ 678308 w 824230"/>
                <a:gd name="T33" fmla="*/ 98910 h 824229"/>
                <a:gd name="T34" fmla="*/ 627343 w 824230"/>
                <a:gd name="T35" fmla="*/ 61559 h 824229"/>
                <a:gd name="T36" fmla="*/ 570838 w 824230"/>
                <a:gd name="T37" fmla="*/ 32292 h 824229"/>
                <a:gd name="T38" fmla="*/ 509644 w 824230"/>
                <a:gd name="T39" fmla="*/ 11939 h 824229"/>
                <a:gd name="T40" fmla="*/ 444600 w 824230"/>
                <a:gd name="T41" fmla="*/ 1359 h 824229"/>
                <a:gd name="T42" fmla="*/ 410900 w 824230"/>
                <a:gd name="T43" fmla="*/ 0 h 824229"/>
                <a:gd name="T44" fmla="*/ 377200 w 824230"/>
                <a:gd name="T45" fmla="*/ 1359 h 824229"/>
                <a:gd name="T46" fmla="*/ 312156 w 824230"/>
                <a:gd name="T47" fmla="*/ 11939 h 824229"/>
                <a:gd name="T48" fmla="*/ 250956 w 824230"/>
                <a:gd name="T49" fmla="*/ 32292 h 824229"/>
                <a:gd name="T50" fmla="*/ 194454 w 824230"/>
                <a:gd name="T51" fmla="*/ 61559 h 824229"/>
                <a:gd name="T52" fmla="*/ 143492 w 824230"/>
                <a:gd name="T53" fmla="*/ 98910 h 824229"/>
                <a:gd name="T54" fmla="*/ 98911 w 824230"/>
                <a:gd name="T55" fmla="*/ 143489 h 824229"/>
                <a:gd name="T56" fmla="*/ 61560 w 824230"/>
                <a:gd name="T57" fmla="*/ 194450 h 824229"/>
                <a:gd name="T58" fmla="*/ 32293 w 824230"/>
                <a:gd name="T59" fmla="*/ 250957 h 824229"/>
                <a:gd name="T60" fmla="*/ 11939 w 824230"/>
                <a:gd name="T61" fmla="*/ 312148 h 824229"/>
                <a:gd name="T62" fmla="*/ 1359 w 824230"/>
                <a:gd name="T63" fmla="*/ 377189 h 824229"/>
                <a:gd name="T64" fmla="*/ 0 w 824230"/>
                <a:gd name="T65" fmla="*/ 410887 h 824229"/>
                <a:gd name="T66" fmla="*/ 1359 w 824230"/>
                <a:gd name="T67" fmla="*/ 444587 h 824229"/>
                <a:gd name="T68" fmla="*/ 11939 w 824230"/>
                <a:gd name="T69" fmla="*/ 509632 h 824229"/>
                <a:gd name="T70" fmla="*/ 32293 w 824230"/>
                <a:gd name="T71" fmla="*/ 570831 h 824229"/>
                <a:gd name="T72" fmla="*/ 61560 w 824230"/>
                <a:gd name="T73" fmla="*/ 627333 h 824229"/>
                <a:gd name="T74" fmla="*/ 98911 w 824230"/>
                <a:gd name="T75" fmla="*/ 678299 h 824229"/>
                <a:gd name="T76" fmla="*/ 143492 w 824230"/>
                <a:gd name="T77" fmla="*/ 722879 h 824229"/>
                <a:gd name="T78" fmla="*/ 194454 w 824230"/>
                <a:gd name="T79" fmla="*/ 760227 h 824229"/>
                <a:gd name="T80" fmla="*/ 250956 w 824230"/>
                <a:gd name="T81" fmla="*/ 789500 h 824229"/>
                <a:gd name="T82" fmla="*/ 312156 w 824230"/>
                <a:gd name="T83" fmla="*/ 809848 h 824229"/>
                <a:gd name="T84" fmla="*/ 377200 w 824230"/>
                <a:gd name="T85" fmla="*/ 820428 h 824229"/>
                <a:gd name="T86" fmla="*/ 410900 w 824230"/>
                <a:gd name="T87" fmla="*/ 821790 h 8242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24230"/>
                <a:gd name="T133" fmla="*/ 0 h 824229"/>
                <a:gd name="T134" fmla="*/ 824230 w 824230"/>
                <a:gd name="T135" fmla="*/ 824229 h 82422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24230" h="824229">
                  <a:moveTo>
                    <a:pt x="411848" y="823683"/>
                  </a:moveTo>
                  <a:lnTo>
                    <a:pt x="478652" y="818293"/>
                  </a:lnTo>
                  <a:lnTo>
                    <a:pt x="542024" y="802687"/>
                  </a:lnTo>
                  <a:lnTo>
                    <a:pt x="601116" y="777714"/>
                  </a:lnTo>
                  <a:lnTo>
                    <a:pt x="655080" y="744220"/>
                  </a:lnTo>
                  <a:lnTo>
                    <a:pt x="703068" y="703056"/>
                  </a:lnTo>
                  <a:lnTo>
                    <a:pt x="744233" y="655067"/>
                  </a:lnTo>
                  <a:lnTo>
                    <a:pt x="777726" y="601103"/>
                  </a:lnTo>
                  <a:lnTo>
                    <a:pt x="802700" y="542011"/>
                  </a:lnTo>
                  <a:lnTo>
                    <a:pt x="818306" y="478639"/>
                  </a:lnTo>
                  <a:lnTo>
                    <a:pt x="823696" y="411835"/>
                  </a:lnTo>
                  <a:lnTo>
                    <a:pt x="822331" y="378059"/>
                  </a:lnTo>
                  <a:lnTo>
                    <a:pt x="811727" y="312868"/>
                  </a:lnTo>
                  <a:lnTo>
                    <a:pt x="791331" y="251533"/>
                  </a:lnTo>
                  <a:lnTo>
                    <a:pt x="761992" y="194900"/>
                  </a:lnTo>
                  <a:lnTo>
                    <a:pt x="724557" y="143819"/>
                  </a:lnTo>
                  <a:lnTo>
                    <a:pt x="679874" y="99138"/>
                  </a:lnTo>
                  <a:lnTo>
                    <a:pt x="628792" y="61703"/>
                  </a:lnTo>
                  <a:lnTo>
                    <a:pt x="572158" y="32364"/>
                  </a:lnTo>
                  <a:lnTo>
                    <a:pt x="510820" y="11969"/>
                  </a:lnTo>
                  <a:lnTo>
                    <a:pt x="445626" y="1365"/>
                  </a:lnTo>
                  <a:lnTo>
                    <a:pt x="411848" y="0"/>
                  </a:lnTo>
                  <a:lnTo>
                    <a:pt x="378070" y="1365"/>
                  </a:lnTo>
                  <a:lnTo>
                    <a:pt x="312876" y="11969"/>
                  </a:lnTo>
                  <a:lnTo>
                    <a:pt x="251538" y="32364"/>
                  </a:lnTo>
                  <a:lnTo>
                    <a:pt x="194904" y="61703"/>
                  </a:lnTo>
                  <a:lnTo>
                    <a:pt x="143822" y="99138"/>
                  </a:lnTo>
                  <a:lnTo>
                    <a:pt x="99139" y="143819"/>
                  </a:lnTo>
                  <a:lnTo>
                    <a:pt x="61704" y="194900"/>
                  </a:lnTo>
                  <a:lnTo>
                    <a:pt x="32365" y="251533"/>
                  </a:lnTo>
                  <a:lnTo>
                    <a:pt x="11969" y="312868"/>
                  </a:lnTo>
                  <a:lnTo>
                    <a:pt x="1365" y="378059"/>
                  </a:lnTo>
                  <a:lnTo>
                    <a:pt x="0" y="411835"/>
                  </a:lnTo>
                  <a:lnTo>
                    <a:pt x="1365" y="445613"/>
                  </a:lnTo>
                  <a:lnTo>
                    <a:pt x="11969" y="510807"/>
                  </a:lnTo>
                  <a:lnTo>
                    <a:pt x="32365" y="572145"/>
                  </a:lnTo>
                  <a:lnTo>
                    <a:pt x="61704" y="628779"/>
                  </a:lnTo>
                  <a:lnTo>
                    <a:pt x="99139" y="679861"/>
                  </a:lnTo>
                  <a:lnTo>
                    <a:pt x="143822" y="724544"/>
                  </a:lnTo>
                  <a:lnTo>
                    <a:pt x="194904" y="761979"/>
                  </a:lnTo>
                  <a:lnTo>
                    <a:pt x="251538" y="791318"/>
                  </a:lnTo>
                  <a:lnTo>
                    <a:pt x="312876" y="811714"/>
                  </a:lnTo>
                  <a:lnTo>
                    <a:pt x="378070" y="822318"/>
                  </a:lnTo>
                  <a:lnTo>
                    <a:pt x="411848" y="823683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22" name="object 78"/>
            <p:cNvSpPr>
              <a:spLocks noChangeArrowheads="1"/>
            </p:cNvSpPr>
            <p:nvPr/>
          </p:nvSpPr>
          <p:spPr bwMode="auto">
            <a:xfrm>
              <a:off x="565150" y="3132138"/>
              <a:ext cx="709613" cy="709612"/>
            </a:xfrm>
            <a:custGeom>
              <a:avLst/>
              <a:gdLst>
                <a:gd name="T0" fmla="*/ 357083 w 708660"/>
                <a:gd name="T1" fmla="*/ 0 h 708660"/>
                <a:gd name="T2" fmla="*/ 299162 w 708660"/>
                <a:gd name="T3" fmla="*/ 4672 h 708660"/>
                <a:gd name="T4" fmla="*/ 244217 w 708660"/>
                <a:gd name="T5" fmla="*/ 18203 h 708660"/>
                <a:gd name="T6" fmla="*/ 192980 w 708660"/>
                <a:gd name="T7" fmla="*/ 39856 h 708660"/>
                <a:gd name="T8" fmla="*/ 146193 w 708660"/>
                <a:gd name="T9" fmla="*/ 68897 h 708660"/>
                <a:gd name="T10" fmla="*/ 104586 w 708660"/>
                <a:gd name="T11" fmla="*/ 104590 h 708660"/>
                <a:gd name="T12" fmla="*/ 68895 w 708660"/>
                <a:gd name="T13" fmla="*/ 146197 h 708660"/>
                <a:gd name="T14" fmla="*/ 39855 w 708660"/>
                <a:gd name="T15" fmla="*/ 192986 h 708660"/>
                <a:gd name="T16" fmla="*/ 18201 w 708660"/>
                <a:gd name="T17" fmla="*/ 244218 h 708660"/>
                <a:gd name="T18" fmla="*/ 4672 w 708660"/>
                <a:gd name="T19" fmla="*/ 299162 h 708660"/>
                <a:gd name="T20" fmla="*/ 0 w 708660"/>
                <a:gd name="T21" fmla="*/ 357079 h 708660"/>
                <a:gd name="T22" fmla="*/ 1186 w 708660"/>
                <a:gd name="T23" fmla="*/ 386367 h 708660"/>
                <a:gd name="T24" fmla="*/ 10378 w 708660"/>
                <a:gd name="T25" fmla="*/ 442891 h 708660"/>
                <a:gd name="T26" fmla="*/ 28061 w 708660"/>
                <a:gd name="T27" fmla="*/ 496073 h 708660"/>
                <a:gd name="T28" fmla="*/ 53498 w 708660"/>
                <a:gd name="T29" fmla="*/ 545174 h 708660"/>
                <a:gd name="T30" fmla="*/ 85955 w 708660"/>
                <a:gd name="T31" fmla="*/ 589467 h 708660"/>
                <a:gd name="T32" fmla="*/ 124695 w 708660"/>
                <a:gd name="T33" fmla="*/ 628206 h 708660"/>
                <a:gd name="T34" fmla="*/ 168985 w 708660"/>
                <a:gd name="T35" fmla="*/ 660662 h 708660"/>
                <a:gd name="T36" fmla="*/ 218088 w 708660"/>
                <a:gd name="T37" fmla="*/ 686099 h 708660"/>
                <a:gd name="T38" fmla="*/ 271270 w 708660"/>
                <a:gd name="T39" fmla="*/ 703783 h 708660"/>
                <a:gd name="T40" fmla="*/ 327796 w 708660"/>
                <a:gd name="T41" fmla="*/ 712977 h 708660"/>
                <a:gd name="T42" fmla="*/ 357083 w 708660"/>
                <a:gd name="T43" fmla="*/ 714161 h 708660"/>
                <a:gd name="T44" fmla="*/ 386369 w 708660"/>
                <a:gd name="T45" fmla="*/ 712977 h 708660"/>
                <a:gd name="T46" fmla="*/ 442895 w 708660"/>
                <a:gd name="T47" fmla="*/ 703783 h 708660"/>
                <a:gd name="T48" fmla="*/ 496077 w 708660"/>
                <a:gd name="T49" fmla="*/ 686099 h 708660"/>
                <a:gd name="T50" fmla="*/ 545179 w 708660"/>
                <a:gd name="T51" fmla="*/ 660662 h 708660"/>
                <a:gd name="T52" fmla="*/ 589470 w 708660"/>
                <a:gd name="T53" fmla="*/ 628206 h 708660"/>
                <a:gd name="T54" fmla="*/ 628211 w 708660"/>
                <a:gd name="T55" fmla="*/ 589467 h 708660"/>
                <a:gd name="T56" fmla="*/ 660668 w 708660"/>
                <a:gd name="T57" fmla="*/ 545174 h 708660"/>
                <a:gd name="T58" fmla="*/ 686104 w 708660"/>
                <a:gd name="T59" fmla="*/ 496073 h 708660"/>
                <a:gd name="T60" fmla="*/ 703789 w 708660"/>
                <a:gd name="T61" fmla="*/ 442891 h 708660"/>
                <a:gd name="T62" fmla="*/ 712983 w 708660"/>
                <a:gd name="T63" fmla="*/ 386367 h 708660"/>
                <a:gd name="T64" fmla="*/ 714167 w 708660"/>
                <a:gd name="T65" fmla="*/ 357079 h 708660"/>
                <a:gd name="T66" fmla="*/ 712983 w 708660"/>
                <a:gd name="T67" fmla="*/ 327795 h 708660"/>
                <a:gd name="T68" fmla="*/ 703789 w 708660"/>
                <a:gd name="T69" fmla="*/ 271271 h 708660"/>
                <a:gd name="T70" fmla="*/ 686104 w 708660"/>
                <a:gd name="T71" fmla="*/ 218093 h 708660"/>
                <a:gd name="T72" fmla="*/ 660668 w 708660"/>
                <a:gd name="T73" fmla="*/ 168989 h 708660"/>
                <a:gd name="T74" fmla="*/ 628211 w 708660"/>
                <a:gd name="T75" fmla="*/ 124699 h 708660"/>
                <a:gd name="T76" fmla="*/ 589470 w 708660"/>
                <a:gd name="T77" fmla="*/ 85959 h 708660"/>
                <a:gd name="T78" fmla="*/ 545179 w 708660"/>
                <a:gd name="T79" fmla="*/ 53500 h 708660"/>
                <a:gd name="T80" fmla="*/ 496077 w 708660"/>
                <a:gd name="T81" fmla="*/ 28062 h 708660"/>
                <a:gd name="T82" fmla="*/ 442895 w 708660"/>
                <a:gd name="T83" fmla="*/ 10379 h 708660"/>
                <a:gd name="T84" fmla="*/ 386369 w 708660"/>
                <a:gd name="T85" fmla="*/ 1186 h 708660"/>
                <a:gd name="T86" fmla="*/ 357083 w 708660"/>
                <a:gd name="T87" fmla="*/ 0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60"/>
                <a:gd name="T133" fmla="*/ 0 h 708660"/>
                <a:gd name="T134" fmla="*/ 708660 w 708660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60" h="708660">
                  <a:moveTo>
                    <a:pt x="354215" y="0"/>
                  </a:moveTo>
                  <a:lnTo>
                    <a:pt x="296759" y="4636"/>
                  </a:lnTo>
                  <a:lnTo>
                    <a:pt x="242255" y="18059"/>
                  </a:lnTo>
                  <a:lnTo>
                    <a:pt x="191431" y="39538"/>
                  </a:lnTo>
                  <a:lnTo>
                    <a:pt x="145019" y="68345"/>
                  </a:lnTo>
                  <a:lnTo>
                    <a:pt x="103746" y="103751"/>
                  </a:lnTo>
                  <a:lnTo>
                    <a:pt x="68342" y="145024"/>
                  </a:lnTo>
                  <a:lnTo>
                    <a:pt x="39536" y="191437"/>
                  </a:lnTo>
                  <a:lnTo>
                    <a:pt x="18057" y="242259"/>
                  </a:lnTo>
                  <a:lnTo>
                    <a:pt x="4636" y="296762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lnTo>
                    <a:pt x="383267" y="707257"/>
                  </a:lnTo>
                  <a:lnTo>
                    <a:pt x="439338" y="698137"/>
                  </a:lnTo>
                  <a:lnTo>
                    <a:pt x="492093" y="680595"/>
                  </a:lnTo>
                  <a:lnTo>
                    <a:pt x="540802" y="655362"/>
                  </a:lnTo>
                  <a:lnTo>
                    <a:pt x="584736" y="623166"/>
                  </a:lnTo>
                  <a:lnTo>
                    <a:pt x="623166" y="584736"/>
                  </a:lnTo>
                  <a:lnTo>
                    <a:pt x="655362" y="540802"/>
                  </a:lnTo>
                  <a:lnTo>
                    <a:pt x="680595" y="492093"/>
                  </a:lnTo>
                  <a:lnTo>
                    <a:pt x="698137" y="439338"/>
                  </a:lnTo>
                  <a:lnTo>
                    <a:pt x="707257" y="383267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23" name="object 79"/>
            <p:cNvSpPr>
              <a:spLocks noChangeArrowheads="1"/>
            </p:cNvSpPr>
            <p:nvPr/>
          </p:nvSpPr>
          <p:spPr bwMode="auto">
            <a:xfrm>
              <a:off x="565150" y="3132138"/>
              <a:ext cx="709613" cy="709612"/>
            </a:xfrm>
            <a:prstGeom prst="rect">
              <a:avLst/>
            </a:prstGeom>
            <a:blipFill dpi="0" rotWithShape="1"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1624" name="object 80"/>
            <p:cNvSpPr>
              <a:spLocks noChangeArrowheads="1"/>
            </p:cNvSpPr>
            <p:nvPr/>
          </p:nvSpPr>
          <p:spPr bwMode="auto">
            <a:xfrm>
              <a:off x="565150" y="3132138"/>
              <a:ext cx="709613" cy="709612"/>
            </a:xfrm>
            <a:custGeom>
              <a:avLst/>
              <a:gdLst>
                <a:gd name="T0" fmla="*/ 357083 w 708660"/>
                <a:gd name="T1" fmla="*/ 714161 h 708660"/>
                <a:gd name="T2" fmla="*/ 415005 w 708660"/>
                <a:gd name="T3" fmla="*/ 709487 h 708660"/>
                <a:gd name="T4" fmla="*/ 469950 w 708660"/>
                <a:gd name="T5" fmla="*/ 695956 h 708660"/>
                <a:gd name="T6" fmla="*/ 521184 w 708660"/>
                <a:gd name="T7" fmla="*/ 674305 h 708660"/>
                <a:gd name="T8" fmla="*/ 567975 w 708660"/>
                <a:gd name="T9" fmla="*/ 645266 h 708660"/>
                <a:gd name="T10" fmla="*/ 609580 w 708660"/>
                <a:gd name="T11" fmla="*/ 609576 h 708660"/>
                <a:gd name="T12" fmla="*/ 645271 w 708660"/>
                <a:gd name="T13" fmla="*/ 567969 h 708660"/>
                <a:gd name="T14" fmla="*/ 674311 w 708660"/>
                <a:gd name="T15" fmla="*/ 521179 h 708660"/>
                <a:gd name="T16" fmla="*/ 695962 w 708660"/>
                <a:gd name="T17" fmla="*/ 469946 h 708660"/>
                <a:gd name="T18" fmla="*/ 709493 w 708660"/>
                <a:gd name="T19" fmla="*/ 415002 h 708660"/>
                <a:gd name="T20" fmla="*/ 714167 w 708660"/>
                <a:gd name="T21" fmla="*/ 357079 h 708660"/>
                <a:gd name="T22" fmla="*/ 712983 w 708660"/>
                <a:gd name="T23" fmla="*/ 327795 h 708660"/>
                <a:gd name="T24" fmla="*/ 703789 w 708660"/>
                <a:gd name="T25" fmla="*/ 271271 h 708660"/>
                <a:gd name="T26" fmla="*/ 686104 w 708660"/>
                <a:gd name="T27" fmla="*/ 218093 h 708660"/>
                <a:gd name="T28" fmla="*/ 660668 w 708660"/>
                <a:gd name="T29" fmla="*/ 168989 h 708660"/>
                <a:gd name="T30" fmla="*/ 628211 w 708660"/>
                <a:gd name="T31" fmla="*/ 124699 h 708660"/>
                <a:gd name="T32" fmla="*/ 589470 w 708660"/>
                <a:gd name="T33" fmla="*/ 85959 h 708660"/>
                <a:gd name="T34" fmla="*/ 545179 w 708660"/>
                <a:gd name="T35" fmla="*/ 53500 h 708660"/>
                <a:gd name="T36" fmla="*/ 496077 w 708660"/>
                <a:gd name="T37" fmla="*/ 28062 h 708660"/>
                <a:gd name="T38" fmla="*/ 442895 w 708660"/>
                <a:gd name="T39" fmla="*/ 10379 h 708660"/>
                <a:gd name="T40" fmla="*/ 386369 w 708660"/>
                <a:gd name="T41" fmla="*/ 1186 h 708660"/>
                <a:gd name="T42" fmla="*/ 357083 w 708660"/>
                <a:gd name="T43" fmla="*/ 0 h 708660"/>
                <a:gd name="T44" fmla="*/ 327796 w 708660"/>
                <a:gd name="T45" fmla="*/ 1186 h 708660"/>
                <a:gd name="T46" fmla="*/ 271270 w 708660"/>
                <a:gd name="T47" fmla="*/ 10379 h 708660"/>
                <a:gd name="T48" fmla="*/ 218088 w 708660"/>
                <a:gd name="T49" fmla="*/ 28062 h 708660"/>
                <a:gd name="T50" fmla="*/ 168985 w 708660"/>
                <a:gd name="T51" fmla="*/ 53500 h 708660"/>
                <a:gd name="T52" fmla="*/ 124695 w 708660"/>
                <a:gd name="T53" fmla="*/ 85959 h 708660"/>
                <a:gd name="T54" fmla="*/ 85955 w 708660"/>
                <a:gd name="T55" fmla="*/ 124699 h 708660"/>
                <a:gd name="T56" fmla="*/ 53498 w 708660"/>
                <a:gd name="T57" fmla="*/ 168989 h 708660"/>
                <a:gd name="T58" fmla="*/ 28061 w 708660"/>
                <a:gd name="T59" fmla="*/ 218093 h 708660"/>
                <a:gd name="T60" fmla="*/ 10378 w 708660"/>
                <a:gd name="T61" fmla="*/ 271271 h 708660"/>
                <a:gd name="T62" fmla="*/ 1186 w 708660"/>
                <a:gd name="T63" fmla="*/ 327795 h 708660"/>
                <a:gd name="T64" fmla="*/ 0 w 708660"/>
                <a:gd name="T65" fmla="*/ 357079 h 708660"/>
                <a:gd name="T66" fmla="*/ 1186 w 708660"/>
                <a:gd name="T67" fmla="*/ 386367 h 708660"/>
                <a:gd name="T68" fmla="*/ 10378 w 708660"/>
                <a:gd name="T69" fmla="*/ 442891 h 708660"/>
                <a:gd name="T70" fmla="*/ 28061 w 708660"/>
                <a:gd name="T71" fmla="*/ 496073 h 708660"/>
                <a:gd name="T72" fmla="*/ 53498 w 708660"/>
                <a:gd name="T73" fmla="*/ 545174 h 708660"/>
                <a:gd name="T74" fmla="*/ 85955 w 708660"/>
                <a:gd name="T75" fmla="*/ 589467 h 708660"/>
                <a:gd name="T76" fmla="*/ 124695 w 708660"/>
                <a:gd name="T77" fmla="*/ 628206 h 708660"/>
                <a:gd name="T78" fmla="*/ 168985 w 708660"/>
                <a:gd name="T79" fmla="*/ 660662 h 708660"/>
                <a:gd name="T80" fmla="*/ 218088 w 708660"/>
                <a:gd name="T81" fmla="*/ 686099 h 708660"/>
                <a:gd name="T82" fmla="*/ 271270 w 708660"/>
                <a:gd name="T83" fmla="*/ 703783 h 708660"/>
                <a:gd name="T84" fmla="*/ 327796 w 708660"/>
                <a:gd name="T85" fmla="*/ 712977 h 708660"/>
                <a:gd name="T86" fmla="*/ 357083 w 708660"/>
                <a:gd name="T87" fmla="*/ 714161 h 70866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08660"/>
                <a:gd name="T133" fmla="*/ 0 h 708660"/>
                <a:gd name="T134" fmla="*/ 708660 w 708660"/>
                <a:gd name="T135" fmla="*/ 708660 h 70866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08660" h="708660">
                  <a:moveTo>
                    <a:pt x="354215" y="708431"/>
                  </a:moveTo>
                  <a:lnTo>
                    <a:pt x="411672" y="703795"/>
                  </a:lnTo>
                  <a:lnTo>
                    <a:pt x="466176" y="690373"/>
                  </a:lnTo>
                  <a:lnTo>
                    <a:pt x="516999" y="668895"/>
                  </a:lnTo>
                  <a:lnTo>
                    <a:pt x="563412" y="640089"/>
                  </a:lnTo>
                  <a:lnTo>
                    <a:pt x="604685" y="604685"/>
                  </a:lnTo>
                  <a:lnTo>
                    <a:pt x="640089" y="563412"/>
                  </a:lnTo>
                  <a:lnTo>
                    <a:pt x="668895" y="516999"/>
                  </a:lnTo>
                  <a:lnTo>
                    <a:pt x="690373" y="466176"/>
                  </a:lnTo>
                  <a:lnTo>
                    <a:pt x="703795" y="411672"/>
                  </a:lnTo>
                  <a:lnTo>
                    <a:pt x="708431" y="354215"/>
                  </a:lnTo>
                  <a:lnTo>
                    <a:pt x="707257" y="325165"/>
                  </a:lnTo>
                  <a:lnTo>
                    <a:pt x="698137" y="269096"/>
                  </a:lnTo>
                  <a:lnTo>
                    <a:pt x="680595" y="216343"/>
                  </a:lnTo>
                  <a:lnTo>
                    <a:pt x="655362" y="167634"/>
                  </a:lnTo>
                  <a:lnTo>
                    <a:pt x="623166" y="123699"/>
                  </a:lnTo>
                  <a:lnTo>
                    <a:pt x="584736" y="85269"/>
                  </a:lnTo>
                  <a:lnTo>
                    <a:pt x="540802" y="53071"/>
                  </a:lnTo>
                  <a:lnTo>
                    <a:pt x="492093" y="27837"/>
                  </a:lnTo>
                  <a:lnTo>
                    <a:pt x="439338" y="10295"/>
                  </a:lnTo>
                  <a:lnTo>
                    <a:pt x="383267" y="1174"/>
                  </a:lnTo>
                  <a:lnTo>
                    <a:pt x="354215" y="0"/>
                  </a:lnTo>
                  <a:lnTo>
                    <a:pt x="325164" y="1174"/>
                  </a:lnTo>
                  <a:lnTo>
                    <a:pt x="269092" y="10295"/>
                  </a:lnTo>
                  <a:lnTo>
                    <a:pt x="216337" y="27837"/>
                  </a:lnTo>
                  <a:lnTo>
                    <a:pt x="167628" y="53071"/>
                  </a:lnTo>
                  <a:lnTo>
                    <a:pt x="123694" y="85269"/>
                  </a:lnTo>
                  <a:lnTo>
                    <a:pt x="85265" y="123699"/>
                  </a:lnTo>
                  <a:lnTo>
                    <a:pt x="53068" y="167634"/>
                  </a:lnTo>
                  <a:lnTo>
                    <a:pt x="27835" y="216343"/>
                  </a:lnTo>
                  <a:lnTo>
                    <a:pt x="10294" y="269096"/>
                  </a:lnTo>
                  <a:lnTo>
                    <a:pt x="1174" y="325165"/>
                  </a:lnTo>
                  <a:lnTo>
                    <a:pt x="0" y="354215"/>
                  </a:lnTo>
                  <a:lnTo>
                    <a:pt x="1174" y="383267"/>
                  </a:lnTo>
                  <a:lnTo>
                    <a:pt x="10294" y="439338"/>
                  </a:lnTo>
                  <a:lnTo>
                    <a:pt x="27835" y="492093"/>
                  </a:lnTo>
                  <a:lnTo>
                    <a:pt x="53068" y="540802"/>
                  </a:lnTo>
                  <a:lnTo>
                    <a:pt x="85265" y="584736"/>
                  </a:lnTo>
                  <a:lnTo>
                    <a:pt x="123694" y="623166"/>
                  </a:lnTo>
                  <a:lnTo>
                    <a:pt x="167628" y="655362"/>
                  </a:lnTo>
                  <a:lnTo>
                    <a:pt x="216337" y="680595"/>
                  </a:lnTo>
                  <a:lnTo>
                    <a:pt x="269092" y="698137"/>
                  </a:lnTo>
                  <a:lnTo>
                    <a:pt x="325164" y="707257"/>
                  </a:lnTo>
                  <a:lnTo>
                    <a:pt x="354215" y="708431"/>
                  </a:lnTo>
                  <a:close/>
                </a:path>
              </a:pathLst>
            </a:custGeom>
            <a:noFill/>
            <a:ln w="20574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25" name="object 81"/>
            <p:cNvSpPr>
              <a:spLocks noChangeArrowheads="1"/>
            </p:cNvSpPr>
            <p:nvPr/>
          </p:nvSpPr>
          <p:spPr bwMode="auto">
            <a:xfrm>
              <a:off x="879475" y="2490788"/>
              <a:ext cx="80963" cy="82550"/>
            </a:xfrm>
            <a:custGeom>
              <a:avLst/>
              <a:gdLst>
                <a:gd name="T0" fmla="*/ 42661 w 80644"/>
                <a:gd name="T1" fmla="*/ 0 h 82550"/>
                <a:gd name="T2" fmla="*/ 27626 w 80644"/>
                <a:gd name="T3" fmla="*/ 2374 h 82550"/>
                <a:gd name="T4" fmla="*/ 15001 w 80644"/>
                <a:gd name="T5" fmla="*/ 8982 h 82550"/>
                <a:gd name="T6" fmla="*/ 5542 w 80644"/>
                <a:gd name="T7" fmla="*/ 18994 h 82550"/>
                <a:gd name="T8" fmla="*/ 0 w 80644"/>
                <a:gd name="T9" fmla="*/ 31579 h 82550"/>
                <a:gd name="T10" fmla="*/ 1451 w 80644"/>
                <a:gd name="T11" fmla="*/ 48640 h 82550"/>
                <a:gd name="T12" fmla="*/ 25791 w 80644"/>
                <a:gd name="T13" fmla="*/ 79414 h 82550"/>
                <a:gd name="T14" fmla="*/ 41014 w 80644"/>
                <a:gd name="T15" fmla="*/ 82303 h 82550"/>
                <a:gd name="T16" fmla="*/ 55468 w 80644"/>
                <a:gd name="T17" fmla="*/ 79819 h 82550"/>
                <a:gd name="T18" fmla="*/ 67765 w 80644"/>
                <a:gd name="T19" fmla="*/ 72954 h 82550"/>
                <a:gd name="T20" fmla="*/ 77003 w 80644"/>
                <a:gd name="T21" fmla="*/ 62586 h 82550"/>
                <a:gd name="T22" fmla="*/ 82282 w 80644"/>
                <a:gd name="T23" fmla="*/ 49594 h 82550"/>
                <a:gd name="T24" fmla="*/ 80658 w 80644"/>
                <a:gd name="T25" fmla="*/ 32822 h 82550"/>
                <a:gd name="T26" fmla="*/ 75196 w 80644"/>
                <a:gd name="T27" fmla="*/ 19223 h 82550"/>
                <a:gd name="T28" fmla="*/ 66583 w 80644"/>
                <a:gd name="T29" fmla="*/ 9052 h 82550"/>
                <a:gd name="T30" fmla="*/ 55511 w 80644"/>
                <a:gd name="T31" fmla="*/ 2560 h 82550"/>
                <a:gd name="T32" fmla="*/ 42661 w 80644"/>
                <a:gd name="T33" fmla="*/ 0 h 825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0644"/>
                <a:gd name="T52" fmla="*/ 0 h 82550"/>
                <a:gd name="T53" fmla="*/ 80644 w 80644"/>
                <a:gd name="T54" fmla="*/ 82550 h 825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0644" h="82550">
                  <a:moveTo>
                    <a:pt x="41663" y="0"/>
                  </a:moveTo>
                  <a:lnTo>
                    <a:pt x="26979" y="2374"/>
                  </a:lnTo>
                  <a:lnTo>
                    <a:pt x="14650" y="8982"/>
                  </a:lnTo>
                  <a:lnTo>
                    <a:pt x="5412" y="18994"/>
                  </a:lnTo>
                  <a:lnTo>
                    <a:pt x="0" y="31579"/>
                  </a:lnTo>
                  <a:lnTo>
                    <a:pt x="1415" y="48640"/>
                  </a:lnTo>
                  <a:lnTo>
                    <a:pt x="25187" y="79414"/>
                  </a:lnTo>
                  <a:lnTo>
                    <a:pt x="40054" y="82303"/>
                  </a:lnTo>
                  <a:lnTo>
                    <a:pt x="54169" y="79819"/>
                  </a:lnTo>
                  <a:lnTo>
                    <a:pt x="66178" y="72954"/>
                  </a:lnTo>
                  <a:lnTo>
                    <a:pt x="75201" y="62586"/>
                  </a:lnTo>
                  <a:lnTo>
                    <a:pt x="80356" y="49594"/>
                  </a:lnTo>
                  <a:lnTo>
                    <a:pt x="78769" y="32822"/>
                  </a:lnTo>
                  <a:lnTo>
                    <a:pt x="73436" y="19223"/>
                  </a:lnTo>
                  <a:lnTo>
                    <a:pt x="65026" y="9052"/>
                  </a:lnTo>
                  <a:lnTo>
                    <a:pt x="54212" y="2560"/>
                  </a:lnTo>
                  <a:lnTo>
                    <a:pt x="41663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26" name="object 82"/>
            <p:cNvSpPr>
              <a:spLocks noChangeArrowheads="1"/>
            </p:cNvSpPr>
            <p:nvPr/>
          </p:nvSpPr>
          <p:spPr bwMode="auto">
            <a:xfrm>
              <a:off x="879475" y="2490788"/>
              <a:ext cx="80963" cy="82550"/>
            </a:xfrm>
            <a:custGeom>
              <a:avLst/>
              <a:gdLst>
                <a:gd name="T0" fmla="*/ 41014 w 80644"/>
                <a:gd name="T1" fmla="*/ 82303 h 82550"/>
                <a:gd name="T2" fmla="*/ 55468 w 80644"/>
                <a:gd name="T3" fmla="*/ 79819 h 82550"/>
                <a:gd name="T4" fmla="*/ 67765 w 80644"/>
                <a:gd name="T5" fmla="*/ 72954 h 82550"/>
                <a:gd name="T6" fmla="*/ 77003 w 80644"/>
                <a:gd name="T7" fmla="*/ 62586 h 82550"/>
                <a:gd name="T8" fmla="*/ 82282 w 80644"/>
                <a:gd name="T9" fmla="*/ 49594 h 82550"/>
                <a:gd name="T10" fmla="*/ 80658 w 80644"/>
                <a:gd name="T11" fmla="*/ 32822 h 82550"/>
                <a:gd name="T12" fmla="*/ 75196 w 80644"/>
                <a:gd name="T13" fmla="*/ 19223 h 82550"/>
                <a:gd name="T14" fmla="*/ 66583 w 80644"/>
                <a:gd name="T15" fmla="*/ 9052 h 82550"/>
                <a:gd name="T16" fmla="*/ 55511 w 80644"/>
                <a:gd name="T17" fmla="*/ 2560 h 82550"/>
                <a:gd name="T18" fmla="*/ 42661 w 80644"/>
                <a:gd name="T19" fmla="*/ 0 h 82550"/>
                <a:gd name="T20" fmla="*/ 27626 w 80644"/>
                <a:gd name="T21" fmla="*/ 2374 h 82550"/>
                <a:gd name="T22" fmla="*/ 15001 w 80644"/>
                <a:gd name="T23" fmla="*/ 8982 h 82550"/>
                <a:gd name="T24" fmla="*/ 5542 w 80644"/>
                <a:gd name="T25" fmla="*/ 18994 h 82550"/>
                <a:gd name="T26" fmla="*/ 0 w 80644"/>
                <a:gd name="T27" fmla="*/ 31579 h 82550"/>
                <a:gd name="T28" fmla="*/ 1451 w 80644"/>
                <a:gd name="T29" fmla="*/ 48640 h 82550"/>
                <a:gd name="T30" fmla="*/ 25791 w 80644"/>
                <a:gd name="T31" fmla="*/ 79414 h 82550"/>
                <a:gd name="T32" fmla="*/ 41014 w 80644"/>
                <a:gd name="T33" fmla="*/ 82303 h 825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0644"/>
                <a:gd name="T52" fmla="*/ 0 h 82550"/>
                <a:gd name="T53" fmla="*/ 80644 w 80644"/>
                <a:gd name="T54" fmla="*/ 82550 h 825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0644" h="82550">
                  <a:moveTo>
                    <a:pt x="40054" y="82303"/>
                  </a:moveTo>
                  <a:lnTo>
                    <a:pt x="54169" y="79819"/>
                  </a:lnTo>
                  <a:lnTo>
                    <a:pt x="66178" y="72954"/>
                  </a:lnTo>
                  <a:lnTo>
                    <a:pt x="75201" y="62586"/>
                  </a:lnTo>
                  <a:lnTo>
                    <a:pt x="80356" y="49594"/>
                  </a:lnTo>
                  <a:lnTo>
                    <a:pt x="78769" y="32822"/>
                  </a:lnTo>
                  <a:lnTo>
                    <a:pt x="73436" y="19223"/>
                  </a:lnTo>
                  <a:lnTo>
                    <a:pt x="65026" y="9052"/>
                  </a:lnTo>
                  <a:lnTo>
                    <a:pt x="54212" y="2560"/>
                  </a:lnTo>
                  <a:lnTo>
                    <a:pt x="41663" y="0"/>
                  </a:lnTo>
                  <a:lnTo>
                    <a:pt x="26979" y="2374"/>
                  </a:lnTo>
                  <a:lnTo>
                    <a:pt x="14650" y="8982"/>
                  </a:lnTo>
                  <a:lnTo>
                    <a:pt x="5412" y="18994"/>
                  </a:lnTo>
                  <a:lnTo>
                    <a:pt x="0" y="31579"/>
                  </a:lnTo>
                  <a:lnTo>
                    <a:pt x="1415" y="48640"/>
                  </a:lnTo>
                  <a:lnTo>
                    <a:pt x="25187" y="79414"/>
                  </a:lnTo>
                  <a:lnTo>
                    <a:pt x="40054" y="82303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27" name="object 83"/>
            <p:cNvSpPr>
              <a:spLocks noChangeArrowheads="1"/>
            </p:cNvSpPr>
            <p:nvPr/>
          </p:nvSpPr>
          <p:spPr bwMode="auto">
            <a:xfrm>
              <a:off x="893763" y="3097213"/>
              <a:ext cx="49212" cy="52387"/>
            </a:xfrm>
            <a:custGeom>
              <a:avLst/>
              <a:gdLst>
                <a:gd name="T0" fmla="*/ 36600 w 48894"/>
                <a:gd name="T1" fmla="*/ 0 h 51435"/>
                <a:gd name="T2" fmla="*/ 18619 w 48894"/>
                <a:gd name="T3" fmla="*/ 1404 h 51435"/>
                <a:gd name="T4" fmla="*/ 6444 w 48894"/>
                <a:gd name="T5" fmla="*/ 8298 h 51435"/>
                <a:gd name="T6" fmla="*/ 0 w 48894"/>
                <a:gd name="T7" fmla="*/ 19134 h 51435"/>
                <a:gd name="T8" fmla="*/ 2146 w 48894"/>
                <a:gd name="T9" fmla="*/ 37663 h 51435"/>
                <a:gd name="T10" fmla="*/ 9546 w 48894"/>
                <a:gd name="T11" fmla="*/ 50183 h 51435"/>
                <a:gd name="T12" fmla="*/ 20651 w 48894"/>
                <a:gd name="T13" fmla="*/ 56421 h 51435"/>
                <a:gd name="T14" fmla="*/ 26498 w 48894"/>
                <a:gd name="T15" fmla="*/ 57106 h 51435"/>
                <a:gd name="T16" fmla="*/ 40609 w 48894"/>
                <a:gd name="T17" fmla="*/ 52954 h 51435"/>
                <a:gd name="T18" fmla="*/ 50555 w 48894"/>
                <a:gd name="T19" fmla="*/ 42059 h 51435"/>
                <a:gd name="T20" fmla="*/ 50401 w 48894"/>
                <a:gd name="T21" fmla="*/ 21703 h 51435"/>
                <a:gd name="T22" fmla="*/ 45315 w 48894"/>
                <a:gd name="T23" fmla="*/ 7832 h 51435"/>
                <a:gd name="T24" fmla="*/ 36600 w 48894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4"/>
                <a:gd name="T40" fmla="*/ 0 h 51435"/>
                <a:gd name="T41" fmla="*/ 48894 w 48894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4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28" name="object 84"/>
            <p:cNvSpPr>
              <a:spLocks noChangeArrowheads="1"/>
            </p:cNvSpPr>
            <p:nvPr/>
          </p:nvSpPr>
          <p:spPr bwMode="auto">
            <a:xfrm>
              <a:off x="893763" y="3097213"/>
              <a:ext cx="49212" cy="52387"/>
            </a:xfrm>
            <a:custGeom>
              <a:avLst/>
              <a:gdLst>
                <a:gd name="T0" fmla="*/ 26498 w 48894"/>
                <a:gd name="T1" fmla="*/ 57106 h 51435"/>
                <a:gd name="T2" fmla="*/ 40609 w 48894"/>
                <a:gd name="T3" fmla="*/ 52954 h 51435"/>
                <a:gd name="T4" fmla="*/ 50555 w 48894"/>
                <a:gd name="T5" fmla="*/ 42059 h 51435"/>
                <a:gd name="T6" fmla="*/ 50401 w 48894"/>
                <a:gd name="T7" fmla="*/ 21703 h 51435"/>
                <a:gd name="T8" fmla="*/ 45315 w 48894"/>
                <a:gd name="T9" fmla="*/ 7832 h 51435"/>
                <a:gd name="T10" fmla="*/ 36600 w 48894"/>
                <a:gd name="T11" fmla="*/ 0 h 51435"/>
                <a:gd name="T12" fmla="*/ 18619 w 48894"/>
                <a:gd name="T13" fmla="*/ 1404 h 51435"/>
                <a:gd name="T14" fmla="*/ 6444 w 48894"/>
                <a:gd name="T15" fmla="*/ 8298 h 51435"/>
                <a:gd name="T16" fmla="*/ 0 w 48894"/>
                <a:gd name="T17" fmla="*/ 19134 h 51435"/>
                <a:gd name="T18" fmla="*/ 2146 w 48894"/>
                <a:gd name="T19" fmla="*/ 37663 h 51435"/>
                <a:gd name="T20" fmla="*/ 9546 w 48894"/>
                <a:gd name="T21" fmla="*/ 50183 h 51435"/>
                <a:gd name="T22" fmla="*/ 20651 w 48894"/>
                <a:gd name="T23" fmla="*/ 56421 h 51435"/>
                <a:gd name="T24" fmla="*/ 26498 w 48894"/>
                <a:gd name="T25" fmla="*/ 57106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4"/>
                <a:gd name="T40" fmla="*/ 0 h 51435"/>
                <a:gd name="T41" fmla="*/ 48894 w 48894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4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29" name="object 85"/>
            <p:cNvSpPr>
              <a:spLocks noChangeArrowheads="1"/>
            </p:cNvSpPr>
            <p:nvPr/>
          </p:nvSpPr>
          <p:spPr bwMode="auto">
            <a:xfrm>
              <a:off x="893763" y="4064000"/>
              <a:ext cx="49212" cy="52388"/>
            </a:xfrm>
            <a:custGeom>
              <a:avLst/>
              <a:gdLst>
                <a:gd name="T0" fmla="*/ 36600 w 48894"/>
                <a:gd name="T1" fmla="*/ 0 h 51435"/>
                <a:gd name="T2" fmla="*/ 18619 w 48894"/>
                <a:gd name="T3" fmla="*/ 1404 h 51435"/>
                <a:gd name="T4" fmla="*/ 6444 w 48894"/>
                <a:gd name="T5" fmla="*/ 8299 h 51435"/>
                <a:gd name="T6" fmla="*/ 0 w 48894"/>
                <a:gd name="T7" fmla="*/ 19137 h 51435"/>
                <a:gd name="T8" fmla="*/ 2146 w 48894"/>
                <a:gd name="T9" fmla="*/ 37669 h 51435"/>
                <a:gd name="T10" fmla="*/ 9546 w 48894"/>
                <a:gd name="T11" fmla="*/ 50189 h 51435"/>
                <a:gd name="T12" fmla="*/ 20651 w 48894"/>
                <a:gd name="T13" fmla="*/ 56427 h 51435"/>
                <a:gd name="T14" fmla="*/ 26498 w 48894"/>
                <a:gd name="T15" fmla="*/ 57112 h 51435"/>
                <a:gd name="T16" fmla="*/ 40609 w 48894"/>
                <a:gd name="T17" fmla="*/ 52960 h 51435"/>
                <a:gd name="T18" fmla="*/ 50555 w 48894"/>
                <a:gd name="T19" fmla="*/ 42065 h 51435"/>
                <a:gd name="T20" fmla="*/ 50401 w 48894"/>
                <a:gd name="T21" fmla="*/ 21707 h 51435"/>
                <a:gd name="T22" fmla="*/ 45315 w 48894"/>
                <a:gd name="T23" fmla="*/ 7832 h 51435"/>
                <a:gd name="T24" fmla="*/ 36600 w 48894"/>
                <a:gd name="T25" fmla="*/ 0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4"/>
                <a:gd name="T40" fmla="*/ 0 h 51435"/>
                <a:gd name="T41" fmla="*/ 48894 w 48894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4" h="51435">
                  <a:moveTo>
                    <a:pt x="35204" y="0"/>
                  </a:move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close/>
                </a:path>
              </a:pathLst>
            </a:custGeom>
            <a:solidFill>
              <a:srgbClr val="012F6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81630" name="object 86"/>
            <p:cNvSpPr>
              <a:spLocks noChangeArrowheads="1"/>
            </p:cNvSpPr>
            <p:nvPr/>
          </p:nvSpPr>
          <p:spPr bwMode="auto">
            <a:xfrm>
              <a:off x="893763" y="4064000"/>
              <a:ext cx="49212" cy="52388"/>
            </a:xfrm>
            <a:custGeom>
              <a:avLst/>
              <a:gdLst>
                <a:gd name="T0" fmla="*/ 26498 w 48894"/>
                <a:gd name="T1" fmla="*/ 57112 h 51435"/>
                <a:gd name="T2" fmla="*/ 40609 w 48894"/>
                <a:gd name="T3" fmla="*/ 52960 h 51435"/>
                <a:gd name="T4" fmla="*/ 50555 w 48894"/>
                <a:gd name="T5" fmla="*/ 42065 h 51435"/>
                <a:gd name="T6" fmla="*/ 50401 w 48894"/>
                <a:gd name="T7" fmla="*/ 21707 h 51435"/>
                <a:gd name="T8" fmla="*/ 45315 w 48894"/>
                <a:gd name="T9" fmla="*/ 7832 h 51435"/>
                <a:gd name="T10" fmla="*/ 36600 w 48894"/>
                <a:gd name="T11" fmla="*/ 0 h 51435"/>
                <a:gd name="T12" fmla="*/ 18619 w 48894"/>
                <a:gd name="T13" fmla="*/ 1404 h 51435"/>
                <a:gd name="T14" fmla="*/ 6444 w 48894"/>
                <a:gd name="T15" fmla="*/ 8299 h 51435"/>
                <a:gd name="T16" fmla="*/ 0 w 48894"/>
                <a:gd name="T17" fmla="*/ 19137 h 51435"/>
                <a:gd name="T18" fmla="*/ 2146 w 48894"/>
                <a:gd name="T19" fmla="*/ 37669 h 51435"/>
                <a:gd name="T20" fmla="*/ 9546 w 48894"/>
                <a:gd name="T21" fmla="*/ 50189 h 51435"/>
                <a:gd name="T22" fmla="*/ 20651 w 48894"/>
                <a:gd name="T23" fmla="*/ 56427 h 51435"/>
                <a:gd name="T24" fmla="*/ 26498 w 48894"/>
                <a:gd name="T25" fmla="*/ 57112 h 514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894"/>
                <a:gd name="T40" fmla="*/ 0 h 51435"/>
                <a:gd name="T41" fmla="*/ 48894 w 48894"/>
                <a:gd name="T42" fmla="*/ 51435 h 514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894" h="51435">
                  <a:moveTo>
                    <a:pt x="25487" y="51156"/>
                  </a:moveTo>
                  <a:lnTo>
                    <a:pt x="39060" y="47436"/>
                  </a:lnTo>
                  <a:lnTo>
                    <a:pt x="48627" y="37678"/>
                  </a:lnTo>
                  <a:lnTo>
                    <a:pt x="48479" y="19442"/>
                  </a:lnTo>
                  <a:lnTo>
                    <a:pt x="43587" y="7016"/>
                  </a:lnTo>
                  <a:lnTo>
                    <a:pt x="35204" y="0"/>
                  </a:lnTo>
                  <a:lnTo>
                    <a:pt x="17909" y="1257"/>
                  </a:lnTo>
                  <a:lnTo>
                    <a:pt x="6198" y="7433"/>
                  </a:lnTo>
                  <a:lnTo>
                    <a:pt x="0" y="17141"/>
                  </a:lnTo>
                  <a:lnTo>
                    <a:pt x="2063" y="33739"/>
                  </a:lnTo>
                  <a:lnTo>
                    <a:pt x="9182" y="44955"/>
                  </a:lnTo>
                  <a:lnTo>
                    <a:pt x="19863" y="50543"/>
                  </a:lnTo>
                  <a:lnTo>
                    <a:pt x="25487" y="51156"/>
                  </a:lnTo>
                  <a:close/>
                </a:path>
              </a:pathLst>
            </a:custGeom>
            <a:noFill/>
            <a:ln w="5143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graphicFrame>
        <p:nvGraphicFramePr>
          <p:cNvPr id="281706" name="Group 106"/>
          <p:cNvGraphicFramePr>
            <a:graphicFrameLocks noGrp="1"/>
          </p:cNvGraphicFramePr>
          <p:nvPr/>
        </p:nvGraphicFramePr>
        <p:xfrm>
          <a:off x="128588" y="5629275"/>
          <a:ext cx="8872537" cy="385763"/>
        </p:xfrm>
        <a:graphic>
          <a:graphicData uri="http://schemas.openxmlformats.org/drawingml/2006/table">
            <a:tbl>
              <a:tblPr/>
              <a:tblGrid>
                <a:gridCol w="14779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2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54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303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795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5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Spekané       súčiastky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Klzné 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ložiská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cie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obloženia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Povlaky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Komponenty výkonovej elektroniky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Špeciálne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cs typeface="Arial" charset="0"/>
                        </a:rPr>
                        <a:t>stroje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165448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97" name="Titel 1"/>
          <p:cNvSpPr>
            <a:spLocks noGrp="1"/>
          </p:cNvSpPr>
          <p:nvPr>
            <p:ph type="title"/>
          </p:nvPr>
        </p:nvSpPr>
        <p:spPr>
          <a:xfrm>
            <a:off x="339725" y="384175"/>
            <a:ext cx="6223000" cy="368300"/>
          </a:xfrm>
        </p:spPr>
        <p:txBody>
          <a:bodyPr/>
          <a:lstStyle/>
          <a:p>
            <a:pPr eaLnBrk="1" hangingPunct="1"/>
            <a:r>
              <a:rPr lang="en-US" dirty="0">
                <a:latin typeface="Arial" charset="0"/>
                <a:cs typeface="Arial" charset="0"/>
              </a:rPr>
              <a:t>Miba Sinter Group</a:t>
            </a:r>
          </a:p>
        </p:txBody>
      </p:sp>
      <p:pic>
        <p:nvPicPr>
          <p:cNvPr id="285698" name="Bildplatzhalter 4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73150"/>
            <a:ext cx="9144000" cy="5784850"/>
          </a:xfrm>
          <a:noFill/>
          <a:ln>
            <a:miter lim="800000"/>
            <a:headEnd/>
            <a:tailEnd/>
          </a:ln>
        </p:spPr>
      </p:pic>
      <p:sp>
        <p:nvSpPr>
          <p:cNvPr id="285699" name="Textplatzhalter 3"/>
          <p:cNvSpPr>
            <a:spLocks noGrp="1"/>
          </p:cNvSpPr>
          <p:nvPr>
            <p:ph type="body" sz="quarter" idx="11"/>
          </p:nvPr>
        </p:nvSpPr>
        <p:spPr bwMode="auto">
          <a:xfrm>
            <a:off x="185800" y="1253999"/>
            <a:ext cx="8705787" cy="2705354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</a:blipFill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sk-SK" dirty="0" err="1">
                <a:latin typeface="Arial" charset="0"/>
                <a:cs typeface="Arial" charset="0"/>
              </a:rPr>
              <a:t>Sinter</a:t>
            </a:r>
            <a:r>
              <a:rPr lang="sk-SK" dirty="0">
                <a:latin typeface="Arial" charset="0"/>
                <a:cs typeface="Arial" charset="0"/>
              </a:rPr>
              <a:t>/spekané komponenty </a:t>
            </a:r>
            <a:r>
              <a:rPr lang="en-US" dirty="0">
                <a:latin typeface="Arial" charset="0"/>
                <a:cs typeface="Arial" charset="0"/>
              </a:rPr>
              <a:t>Miba </a:t>
            </a:r>
            <a:r>
              <a:rPr lang="sk-SK" dirty="0">
                <a:latin typeface="Arial" charset="0"/>
                <a:cs typeface="Arial" charset="0"/>
              </a:rPr>
              <a:t> - Profesionálne komponenty pre automobily budúcnosti</a:t>
            </a:r>
            <a:endParaRPr lang="en-US" dirty="0">
              <a:latin typeface="Arial" charset="0"/>
              <a:cs typeface="Arial" charset="0"/>
            </a:endParaRPr>
          </a:p>
          <a:p>
            <a:pPr lvl="1" eaLnBrk="1" hangingPunct="1">
              <a:spcAft>
                <a:spcPct val="0"/>
              </a:spcAft>
            </a:pPr>
            <a:r>
              <a:rPr lang="sk-SK" dirty="0">
                <a:latin typeface="Arial" charset="0"/>
                <a:cs typeface="Arial" charset="0"/>
              </a:rPr>
              <a:t>Sú vysoko precízne a vysoko odolné diely. </a:t>
            </a:r>
            <a:r>
              <a:rPr lang="en-US" dirty="0">
                <a:latin typeface="Arial" charset="0"/>
                <a:cs typeface="Arial" charset="0"/>
              </a:rPr>
              <a:t> </a:t>
            </a:r>
            <a:r>
              <a:rPr lang="sk-SK" dirty="0">
                <a:latin typeface="Arial" charset="0"/>
                <a:cs typeface="Arial" charset="0"/>
              </a:rPr>
              <a:t>Používajú sa v motoroch, prevodovkách, systémoch riadenia, brzdách a tlmičoch osobných automobilov. </a:t>
            </a:r>
            <a:r>
              <a:rPr lang="en-US" dirty="0">
                <a:latin typeface="Arial" charset="0"/>
                <a:cs typeface="Arial" charset="0"/>
              </a:rPr>
              <a:t> </a:t>
            </a:r>
            <a:endParaRPr lang="sk-SK" dirty="0">
              <a:latin typeface="Arial" charset="0"/>
              <a:cs typeface="Arial" charset="0"/>
            </a:endParaRPr>
          </a:p>
          <a:p>
            <a:pPr marL="179388" lvl="2" indent="-179388">
              <a:spcBef>
                <a:spcPct val="0"/>
              </a:spcBef>
            </a:pPr>
            <a:r>
              <a:rPr lang="sk-SK" dirty="0">
                <a:latin typeface="Arial" charset="0"/>
                <a:cs typeface="Arial" charset="0"/>
              </a:rPr>
              <a:t>ponúkajú účinnú a nákladovo efektívnu technológiu pre hromadnú výrobu</a:t>
            </a:r>
            <a:endParaRPr lang="en-US" dirty="0">
              <a:latin typeface="Arial" charset="0"/>
              <a:cs typeface="Arial" charset="0"/>
            </a:endParaRPr>
          </a:p>
          <a:p>
            <a:pPr marL="179388" lvl="2" indent="-179388">
              <a:spcBef>
                <a:spcPct val="0"/>
              </a:spcBef>
            </a:pPr>
            <a:r>
              <a:rPr lang="sk-SK" dirty="0">
                <a:latin typeface="Arial" charset="0"/>
                <a:cs typeface="Arial" charset="0"/>
              </a:rPr>
              <a:t>sú šetrné k životnému prostrediu vďaka  </a:t>
            </a:r>
            <a:r>
              <a:rPr lang="sk-SK" dirty="0" err="1">
                <a:latin typeface="Arial" charset="0"/>
                <a:cs typeface="Arial" charset="0"/>
              </a:rPr>
              <a:t>vysokorecyklovateľnému</a:t>
            </a:r>
            <a:r>
              <a:rPr lang="sk-SK" dirty="0">
                <a:latin typeface="Arial" charset="0"/>
                <a:cs typeface="Arial" charset="0"/>
              </a:rPr>
              <a:t> obsahu a optimálnemu využitiu materiálov</a:t>
            </a:r>
            <a:endParaRPr lang="en-US" dirty="0">
              <a:latin typeface="Arial" charset="0"/>
              <a:cs typeface="Arial" charset="0"/>
            </a:endParaRPr>
          </a:p>
          <a:p>
            <a:pPr marL="179388" lvl="2" indent="-179388">
              <a:spcBef>
                <a:spcPct val="0"/>
              </a:spcBef>
            </a:pPr>
            <a:r>
              <a:rPr lang="sk-SK" dirty="0">
                <a:latin typeface="Arial" charset="0"/>
                <a:cs typeface="Arial" charset="0"/>
              </a:rPr>
              <a:t>robia motory a prevodovky významne tichšie ako oceľ alebo odliatky</a:t>
            </a:r>
          </a:p>
          <a:p>
            <a:pPr lvl="1" eaLnBrk="1" hangingPunct="1">
              <a:spcAft>
                <a:spcPct val="0"/>
              </a:spcAft>
            </a:pPr>
            <a:endParaRPr lang="en-US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001276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altLang="sk-SK" dirty="0"/>
              <a:t>Miba Sinter Slovakia s.r.o.</a:t>
            </a:r>
            <a:endParaRPr lang="sk-SK" dirty="0"/>
          </a:p>
        </p:txBody>
      </p:sp>
      <p:pic>
        <p:nvPicPr>
          <p:cNvPr id="8" name="Picture 31" descr="2011-09-29 at 12-05-1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3896" y="3312615"/>
            <a:ext cx="2679549" cy="1762143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 descr="C:\Users\michalikovaan\Desktop\Bez názvu1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4282" y="1401312"/>
            <a:ext cx="2679163" cy="1732827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K:\human_resource\Pictures_Fotos\Company\nové foto október 2013\1024px_jpeg\2013-09-30 at 10-58-20.jpg"/>
          <p:cNvPicPr preferRelativeResize="0"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6079" y="1409699"/>
            <a:ext cx="5220000" cy="248400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5" descr="2011-09-29 at 11-39-13"/>
          <p:cNvPicPr preferRelativeResize="0"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6079" y="4078625"/>
            <a:ext cx="5220000" cy="2484000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Obrázok 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9408" y="5235478"/>
            <a:ext cx="2679549" cy="1476013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94750339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40236" y="1320799"/>
            <a:ext cx="4241095" cy="5186363"/>
          </a:xfrm>
          <a:noFill/>
        </p:spPr>
        <p:txBody>
          <a:bodyPr>
            <a:normAutofit/>
          </a:bodyPr>
          <a:lstStyle/>
          <a:p>
            <a:pPr>
              <a:spcBef>
                <a:spcPct val="0"/>
              </a:spcBef>
            </a:pPr>
            <a:r>
              <a:rPr lang="sk-SK" b="1" dirty="0">
                <a:latin typeface="Arial" charset="0"/>
                <a:cs typeface="Arial" charset="0"/>
              </a:rPr>
              <a:t>Krátky profil spoločnosti</a:t>
            </a:r>
            <a:endParaRPr lang="en-US" b="1" dirty="0">
              <a:latin typeface="Arial" charset="0"/>
              <a:cs typeface="Arial" charset="0"/>
            </a:endParaRPr>
          </a:p>
          <a:p>
            <a:pPr lvl="2"/>
            <a:r>
              <a:rPr lang="sk-SK" dirty="0">
                <a:latin typeface="Arial" charset="0"/>
                <a:cs typeface="Arial" charset="0"/>
              </a:rPr>
              <a:t>Krajina:					Slovensko</a:t>
            </a:r>
          </a:p>
          <a:p>
            <a:pPr lvl="2"/>
            <a:r>
              <a:rPr lang="sk-SK" dirty="0">
                <a:latin typeface="Arial" charset="0"/>
                <a:cs typeface="Arial" charset="0"/>
              </a:rPr>
              <a:t>Lokalizácia: 				Dolný Kubín</a:t>
            </a:r>
          </a:p>
          <a:p>
            <a:pPr lvl="2"/>
            <a:r>
              <a:rPr lang="sk-SK" dirty="0">
                <a:latin typeface="Arial" charset="0"/>
                <a:cs typeface="Arial" charset="0"/>
              </a:rPr>
              <a:t>Založená:				22.1.1991</a:t>
            </a:r>
          </a:p>
          <a:p>
            <a:pPr lvl="2"/>
            <a:r>
              <a:rPr lang="sk-SK" dirty="0">
                <a:solidFill>
                  <a:schemeClr val="tx2"/>
                </a:solidFill>
                <a:latin typeface="Arial" charset="0"/>
                <a:cs typeface="Arial" charset="0"/>
              </a:rPr>
              <a:t>Počet zamestnancov k 31.10.2023: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2"/>
                </a:solidFill>
                <a:latin typeface="Arial" charset="0"/>
                <a:cs typeface="Arial" charset="0"/>
              </a:rPr>
              <a:t>750 zamestnancov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2"/>
                </a:solidFill>
                <a:latin typeface="Arial" charset="0"/>
                <a:cs typeface="Arial" charset="0"/>
              </a:rPr>
              <a:t>59 žiakov/učňov </a:t>
            </a:r>
          </a:p>
          <a:p>
            <a:pPr marL="180000" lvl="3" indent="0">
              <a:buNone/>
            </a:pPr>
            <a:r>
              <a:rPr lang="sk-SK" dirty="0">
                <a:solidFill>
                  <a:schemeClr val="tx2"/>
                </a:solidFill>
                <a:latin typeface="Arial" charset="0"/>
                <a:cs typeface="Arial" charset="0"/>
              </a:rPr>
              <a:t> </a:t>
            </a:r>
            <a:r>
              <a:rPr lang="sk-SK" dirty="0">
                <a:solidFill>
                  <a:srgbClr val="FF0000"/>
                </a:solidFill>
                <a:latin typeface="Arial" charset="0"/>
                <a:cs typeface="Arial" charset="0"/>
              </a:rPr>
              <a:t> 				</a:t>
            </a:r>
            <a:endParaRPr lang="sk-SK" dirty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lvl="1">
              <a:spcAft>
                <a:spcPct val="0"/>
              </a:spcAft>
            </a:pPr>
            <a:r>
              <a:rPr lang="sk-SK" b="1" dirty="0">
                <a:latin typeface="Arial" charset="0"/>
                <a:cs typeface="Arial" charset="0"/>
              </a:rPr>
              <a:t>Celková rozloha: 			41 300 m</a:t>
            </a:r>
            <a:r>
              <a:rPr lang="sk-SK" b="1" baseline="30000" dirty="0">
                <a:latin typeface="Arial" charset="0"/>
                <a:cs typeface="Arial" charset="0"/>
              </a:rPr>
              <a:t>2</a:t>
            </a:r>
          </a:p>
          <a:p>
            <a:pPr lvl="1">
              <a:spcAft>
                <a:spcPct val="0"/>
              </a:spcAft>
            </a:pPr>
            <a:r>
              <a:rPr lang="sk-SK" b="1" dirty="0">
                <a:latin typeface="Arial" charset="0"/>
                <a:cs typeface="Arial" charset="0"/>
              </a:rPr>
              <a:t>Celková zastavaná plocha: 	24 400 m</a:t>
            </a:r>
            <a:r>
              <a:rPr lang="sk-SK" b="1" baseline="30000" dirty="0">
                <a:latin typeface="Arial" charset="0"/>
                <a:cs typeface="Arial" charset="0"/>
              </a:rPr>
              <a:t>2</a:t>
            </a:r>
          </a:p>
          <a:p>
            <a:pPr lvl="1">
              <a:spcAft>
                <a:spcPct val="0"/>
              </a:spcAft>
            </a:pPr>
            <a:r>
              <a:rPr lang="sk-SK" b="1" dirty="0">
                <a:latin typeface="Arial" charset="0"/>
                <a:cs typeface="Arial" charset="0"/>
              </a:rPr>
              <a:t>Štyri výrobné jednotky:</a:t>
            </a:r>
            <a:endParaRPr lang="sk-SK" b="1" baseline="30000" dirty="0">
              <a:latin typeface="Arial" charset="0"/>
              <a:cs typeface="Arial" charset="0"/>
            </a:endParaRPr>
          </a:p>
          <a:p>
            <a:pPr lvl="2" algn="just"/>
            <a:r>
              <a:rPr lang="sk-SK" dirty="0">
                <a:latin typeface="Arial" charset="0"/>
                <a:cs typeface="Arial" charset="0"/>
              </a:rPr>
              <a:t>PU1: 				  	    4 100 m</a:t>
            </a:r>
            <a:r>
              <a:rPr lang="sk-SK" baseline="30000" dirty="0">
                <a:latin typeface="Arial" charset="0"/>
                <a:cs typeface="Arial" charset="0"/>
              </a:rPr>
              <a:t>2</a:t>
            </a:r>
            <a:r>
              <a:rPr lang="sk-SK" dirty="0">
                <a:latin typeface="Arial" charset="0"/>
                <a:cs typeface="Arial" charset="0"/>
              </a:rPr>
              <a:t>	</a:t>
            </a:r>
          </a:p>
          <a:p>
            <a:pPr lvl="2" algn="just"/>
            <a:r>
              <a:rPr lang="sk-SK" dirty="0">
                <a:latin typeface="Arial" charset="0"/>
                <a:cs typeface="Arial" charset="0"/>
              </a:rPr>
              <a:t>PU2: 				 	    5 000 m</a:t>
            </a:r>
            <a:r>
              <a:rPr lang="sk-SK" baseline="30000" dirty="0">
                <a:latin typeface="Arial" charset="0"/>
                <a:cs typeface="Arial" charset="0"/>
              </a:rPr>
              <a:t>2</a:t>
            </a:r>
            <a:r>
              <a:rPr lang="sk-SK" dirty="0">
                <a:latin typeface="Arial" charset="0"/>
                <a:cs typeface="Arial" charset="0"/>
              </a:rPr>
              <a:t> </a:t>
            </a:r>
          </a:p>
          <a:p>
            <a:pPr lvl="2" algn="just"/>
            <a:r>
              <a:rPr lang="sk-SK" dirty="0">
                <a:latin typeface="Arial" charset="0"/>
                <a:cs typeface="Arial" charset="0"/>
              </a:rPr>
              <a:t>PU3: 				             4 100 m</a:t>
            </a:r>
            <a:r>
              <a:rPr lang="sk-SK" baseline="30000" dirty="0">
                <a:latin typeface="Arial" charset="0"/>
                <a:cs typeface="Arial" charset="0"/>
              </a:rPr>
              <a:t>2</a:t>
            </a:r>
            <a:endParaRPr lang="sk-SK" dirty="0">
              <a:latin typeface="Arial" charset="0"/>
              <a:cs typeface="Arial" charset="0"/>
            </a:endParaRPr>
          </a:p>
          <a:p>
            <a:pPr lvl="2" algn="just"/>
            <a:r>
              <a:rPr lang="sk-SK" dirty="0">
                <a:latin typeface="Arial" charset="0"/>
                <a:cs typeface="Arial" charset="0"/>
              </a:rPr>
              <a:t>PU4: 		             4 800 m</a:t>
            </a:r>
            <a:r>
              <a:rPr lang="sk-SK" baseline="30000" dirty="0">
                <a:latin typeface="Arial" charset="0"/>
                <a:cs typeface="Arial" charset="0"/>
              </a:rPr>
              <a:t>2</a:t>
            </a:r>
            <a:r>
              <a:rPr lang="sk-SK" dirty="0">
                <a:latin typeface="Arial" charset="0"/>
                <a:cs typeface="Arial" charset="0"/>
              </a:rPr>
              <a:t> + 2 400 m</a:t>
            </a:r>
            <a:r>
              <a:rPr lang="sk-SK" baseline="30000" dirty="0">
                <a:latin typeface="Arial" charset="0"/>
                <a:cs typeface="Arial" charset="0"/>
              </a:rPr>
              <a:t>2</a:t>
            </a:r>
          </a:p>
          <a:p>
            <a:pPr lvl="2" algn="just"/>
            <a:r>
              <a:rPr lang="sk-SK" dirty="0">
                <a:latin typeface="Arial" charset="0"/>
                <a:cs typeface="Arial" charset="0"/>
              </a:rPr>
              <a:t>Nástrojáreň: 			  	    1 000 m</a:t>
            </a:r>
            <a:r>
              <a:rPr lang="sk-SK" baseline="30000" dirty="0">
                <a:latin typeface="Arial" charset="0"/>
                <a:cs typeface="Arial" charset="0"/>
              </a:rPr>
              <a:t>2</a:t>
            </a:r>
          </a:p>
          <a:p>
            <a:pPr lvl="2" algn="just"/>
            <a:endParaRPr lang="sk-SK" dirty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lvl="2" indent="0">
              <a:buNone/>
            </a:pPr>
            <a:r>
              <a:rPr lang="sk-SK" dirty="0">
                <a:solidFill>
                  <a:schemeClr val="tx2"/>
                </a:solidFill>
                <a:latin typeface="Arial" charset="0"/>
                <a:cs typeface="Arial" charset="0"/>
              </a:rPr>
              <a:t> </a:t>
            </a:r>
            <a:r>
              <a:rPr lang="en-US" dirty="0">
                <a:solidFill>
                  <a:schemeClr val="tx2"/>
                </a:solidFill>
                <a:latin typeface="Arial" charset="0"/>
                <a:cs typeface="Arial" charset="0"/>
              </a:rPr>
              <a:t> </a:t>
            </a:r>
            <a:endParaRPr lang="sk-SK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k-SK" dirty="0">
                <a:latin typeface="Arial" charset="0"/>
                <a:cs typeface="Arial" charset="0"/>
              </a:rPr>
              <a:t>Fakty a čísla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latin typeface="Arial" charset="0"/>
                <a:cs typeface="Arial" charset="0"/>
              </a:rPr>
              <a:t>Miba </a:t>
            </a:r>
            <a:r>
              <a:rPr lang="sk-SK" dirty="0" err="1">
                <a:latin typeface="Arial" charset="0"/>
                <a:cs typeface="Arial" charset="0"/>
              </a:rPr>
              <a:t>Sinter</a:t>
            </a:r>
            <a:r>
              <a:rPr lang="sk-SK" dirty="0">
                <a:latin typeface="Arial" charset="0"/>
                <a:cs typeface="Arial" charset="0"/>
              </a:rPr>
              <a:t> Slovakia</a:t>
            </a:r>
            <a:endParaRPr lang="de-DE" dirty="0"/>
          </a:p>
        </p:txBody>
      </p:sp>
      <p:sp>
        <p:nvSpPr>
          <p:cNvPr id="9" name="Textplatzhalter 2"/>
          <p:cNvSpPr txBox="1">
            <a:spLocks noChangeAspect="1"/>
          </p:cNvSpPr>
          <p:nvPr/>
        </p:nvSpPr>
        <p:spPr>
          <a:xfrm>
            <a:off x="5344554" y="1316652"/>
            <a:ext cx="3603503" cy="5186363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lnSpc>
                <a:spcPct val="102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  <a:defRPr sz="2000" b="0" kern="1200">
                <a:solidFill>
                  <a:schemeClr val="accent1"/>
                </a:solidFill>
                <a:latin typeface="Arial"/>
                <a:ea typeface="+mn-ea"/>
                <a:cs typeface="Arial"/>
              </a:defRPr>
            </a:lvl1pPr>
            <a:lvl2pPr marL="0" indent="0" algn="l" defTabSz="457200" rtl="0" eaLnBrk="1" latinLnBrk="0" hangingPunct="1">
              <a:lnSpc>
                <a:spcPts val="2000"/>
              </a:lnSpc>
              <a:spcBef>
                <a:spcPts val="600"/>
              </a:spcBef>
              <a:buFont typeface="Arial"/>
              <a:buNone/>
              <a:defRPr sz="1600" kern="1200">
                <a:solidFill>
                  <a:schemeClr val="accent1"/>
                </a:solidFill>
                <a:latin typeface="Arial"/>
                <a:ea typeface="+mn-ea"/>
                <a:cs typeface="Arial"/>
              </a:defRPr>
            </a:lvl2pPr>
            <a:lvl3pPr marL="180000" indent="-180000" algn="l" defTabSz="457200" rtl="0" eaLnBrk="1" latinLnBrk="0" hangingPunct="1">
              <a:lnSpc>
                <a:spcPts val="2000"/>
              </a:lnSpc>
              <a:spcBef>
                <a:spcPts val="0"/>
              </a:spcBef>
              <a:buFont typeface="Arial"/>
              <a:buChar char="•"/>
              <a:defRPr sz="1400" kern="1200">
                <a:solidFill>
                  <a:schemeClr val="accent1"/>
                </a:solidFill>
                <a:latin typeface="Arial"/>
                <a:ea typeface="+mn-ea"/>
                <a:cs typeface="Arial"/>
              </a:defRPr>
            </a:lvl3pPr>
            <a:lvl4pPr marL="360000" indent="-180000" algn="l" defTabSz="457200" rtl="0" eaLnBrk="1" latinLnBrk="0" hangingPunct="1">
              <a:lnSpc>
                <a:spcPts val="2000"/>
              </a:lnSpc>
              <a:spcBef>
                <a:spcPts val="0"/>
              </a:spcBef>
              <a:buFont typeface="Arial"/>
              <a:buChar char="–"/>
              <a:defRPr sz="1400" kern="1200">
                <a:solidFill>
                  <a:schemeClr val="accent1"/>
                </a:solidFill>
                <a:latin typeface="Arial"/>
                <a:ea typeface="+mn-ea"/>
                <a:cs typeface="Arial"/>
              </a:defRPr>
            </a:lvl4pPr>
            <a:lvl5pPr marL="360000" indent="-144000" algn="l" defTabSz="457200" rtl="0" eaLnBrk="1" latinLnBrk="0" hangingPunct="1">
              <a:lnSpc>
                <a:spcPts val="2000"/>
              </a:lnSpc>
              <a:spcBef>
                <a:spcPts val="0"/>
              </a:spcBef>
              <a:buFont typeface="Symbol" pitchFamily="18" charset="2"/>
              <a:buChar char="-"/>
              <a:defRPr sz="1400" kern="1200">
                <a:solidFill>
                  <a:schemeClr val="accent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sk-SK" dirty="0">
                <a:latin typeface="Arial" charset="0"/>
                <a:cs typeface="Arial" charset="0"/>
              </a:rPr>
              <a:t>	</a:t>
            </a:r>
            <a:endParaRPr lang="sk-SK" sz="2000" b="1" dirty="0">
              <a:latin typeface="Arial" charset="0"/>
              <a:cs typeface="Arial" charset="0"/>
            </a:endParaRPr>
          </a:p>
          <a:p>
            <a:pPr>
              <a:spcBef>
                <a:spcPct val="0"/>
              </a:spcBef>
            </a:pPr>
            <a:r>
              <a:rPr lang="sk-SK" sz="1600" b="1" dirty="0">
                <a:latin typeface="Arial" charset="0"/>
                <a:cs typeface="Arial" charset="0"/>
              </a:rPr>
              <a:t>Certifikáty kvality:</a:t>
            </a:r>
            <a:endParaRPr lang="en-US" sz="1600" b="1" dirty="0">
              <a:latin typeface="Arial" charset="0"/>
              <a:cs typeface="Arial" charset="0"/>
            </a:endParaRPr>
          </a:p>
          <a:p>
            <a:pPr lvl="2" algn="just">
              <a:spcAft>
                <a:spcPct val="0"/>
              </a:spcAft>
            </a:pPr>
            <a:r>
              <a:rPr lang="sk-SK" dirty="0">
                <a:latin typeface="Arial" charset="0"/>
                <a:cs typeface="Arial" charset="0"/>
              </a:rPr>
              <a:t>ISO 9001:2008</a:t>
            </a:r>
          </a:p>
          <a:p>
            <a:pPr lvl="2" algn="just">
              <a:spcAft>
                <a:spcPct val="0"/>
              </a:spcAft>
            </a:pPr>
            <a:r>
              <a:rPr lang="sk-SK" dirty="0">
                <a:latin typeface="Arial" charset="0"/>
                <a:cs typeface="Arial" charset="0"/>
              </a:rPr>
              <a:t>ISO TS 16 949:2009</a:t>
            </a:r>
          </a:p>
          <a:p>
            <a:pPr lvl="2" algn="just">
              <a:spcAft>
                <a:spcPct val="0"/>
              </a:spcAft>
            </a:pPr>
            <a:r>
              <a:rPr lang="sk-SK" dirty="0">
                <a:latin typeface="Arial" charset="0"/>
                <a:cs typeface="Arial" charset="0"/>
              </a:rPr>
              <a:t>ISO 14 001:2004</a:t>
            </a:r>
          </a:p>
          <a:p>
            <a:pPr lvl="2" algn="just">
              <a:spcAft>
                <a:spcPct val="0"/>
              </a:spcAft>
            </a:pPr>
            <a:r>
              <a:rPr lang="sk-SK" dirty="0">
                <a:latin typeface="Arial" charset="0"/>
                <a:cs typeface="Arial" charset="0"/>
              </a:rPr>
              <a:t>OHSAS 18 001</a:t>
            </a:r>
            <a:endParaRPr lang="en-US" dirty="0">
              <a:latin typeface="Arial" charset="0"/>
              <a:cs typeface="Arial" charset="0"/>
            </a:endParaRPr>
          </a:p>
          <a:p>
            <a:pPr lvl="1">
              <a:spcAft>
                <a:spcPct val="0"/>
              </a:spcAft>
            </a:pPr>
            <a:endParaRPr lang="sk-SK" b="1" baseline="30000" dirty="0">
              <a:latin typeface="Arial" charset="0"/>
              <a:cs typeface="Arial" charset="0"/>
            </a:endParaRPr>
          </a:p>
          <a:p>
            <a:pPr>
              <a:spcBef>
                <a:spcPct val="0"/>
              </a:spcBef>
            </a:pPr>
            <a:endParaRPr lang="sk-SK" sz="1600" b="1" dirty="0">
              <a:latin typeface="Arial" charset="0"/>
              <a:cs typeface="Arial" charset="0"/>
            </a:endParaRPr>
          </a:p>
          <a:p>
            <a:pPr>
              <a:spcBef>
                <a:spcPct val="0"/>
              </a:spcBef>
            </a:pPr>
            <a:r>
              <a:rPr lang="sk-SK" sz="1600" b="1" dirty="0">
                <a:latin typeface="Arial" charset="0"/>
                <a:cs typeface="Arial" charset="0"/>
              </a:rPr>
              <a:t>Kompetenčné centrum pre:</a:t>
            </a:r>
          </a:p>
          <a:p>
            <a:pPr lvl="2" algn="just">
              <a:spcAft>
                <a:spcPct val="0"/>
              </a:spcAft>
            </a:pPr>
            <a:r>
              <a:rPr lang="sk-SK" dirty="0">
                <a:latin typeface="Arial" charset="0"/>
                <a:cs typeface="Arial" charset="0"/>
              </a:rPr>
              <a:t>Motorové diely</a:t>
            </a:r>
          </a:p>
          <a:p>
            <a:pPr lvl="2" algn="just">
              <a:spcAft>
                <a:spcPct val="0"/>
              </a:spcAft>
            </a:pPr>
            <a:r>
              <a:rPr lang="sk-SK" dirty="0" err="1">
                <a:latin typeface="Arial" charset="0"/>
                <a:cs typeface="Arial" charset="0"/>
              </a:rPr>
              <a:t>Prevodovkové</a:t>
            </a:r>
            <a:r>
              <a:rPr lang="sk-SK" dirty="0">
                <a:latin typeface="Arial" charset="0"/>
                <a:cs typeface="Arial" charset="0"/>
              </a:rPr>
              <a:t> diely</a:t>
            </a:r>
          </a:p>
          <a:p>
            <a:pPr lvl="2" algn="just">
              <a:spcAft>
                <a:spcPct val="0"/>
              </a:spcAft>
            </a:pPr>
            <a:r>
              <a:rPr lang="sk-SK" dirty="0">
                <a:latin typeface="Arial" charset="0"/>
                <a:cs typeface="Arial" charset="0"/>
              </a:rPr>
              <a:t>Aplikácie pre karosérie a podvozky</a:t>
            </a:r>
          </a:p>
          <a:p>
            <a:pPr lvl="2" algn="just">
              <a:spcAft>
                <a:spcPct val="0"/>
              </a:spcAft>
            </a:pPr>
            <a:endParaRPr lang="sk-SK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32731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Titel 1"/>
          <p:cNvSpPr>
            <a:spLocks noGrp="1"/>
          </p:cNvSpPr>
          <p:nvPr>
            <p:ph type="title"/>
          </p:nvPr>
        </p:nvSpPr>
        <p:spPr>
          <a:xfrm>
            <a:off x="340237" y="199078"/>
            <a:ext cx="5797092" cy="352618"/>
          </a:xfrm>
        </p:spPr>
        <p:txBody>
          <a:bodyPr/>
          <a:lstStyle/>
          <a:p>
            <a:r>
              <a:rPr lang="sk-SK" dirty="0"/>
              <a:t>Produkty spoločnosti </a:t>
            </a:r>
            <a:endParaRPr lang="de-DE" dirty="0"/>
          </a:p>
        </p:txBody>
      </p:sp>
      <p:sp>
        <p:nvSpPr>
          <p:cNvPr id="155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249873" y="522049"/>
            <a:ext cx="5622925" cy="372548"/>
          </a:xfrm>
        </p:spPr>
        <p:txBody>
          <a:bodyPr>
            <a:normAutofit/>
          </a:bodyPr>
          <a:lstStyle/>
          <a:p>
            <a:r>
              <a:rPr lang="en-US" altLang="sk-SK" sz="1400" dirty="0"/>
              <a:t>   </a:t>
            </a:r>
            <a:endParaRPr lang="en-US" sz="1400" kern="0" dirty="0"/>
          </a:p>
        </p:txBody>
      </p:sp>
      <p:pic>
        <p:nvPicPr>
          <p:cNvPr id="2" name="Obrázok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847" y="1192624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4" name="Obrázok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9324" y="1212907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5" name="Obrázok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185" y="1202820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6" name="Obrázok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4000" y="1221432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1884" y="1221432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0" name="Obrázok 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9324" y="2249232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1" name="Obrázok 10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000" y="1192624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2" name="Obrázok 1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847" y="2249232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7" name="Obrázok 16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1662" y="2249232"/>
            <a:ext cx="1440000" cy="1030926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3" name="Obrázok 12">
            <a:extLst>
              <a:ext uri="{FF2B5EF4-FFF2-40B4-BE49-F238E27FC236}">
                <a16:creationId xmlns:a16="http://schemas.microsoft.com/office/drawing/2014/main" id="{116C5D71-6611-4254-9254-DFC2659E42C7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0214" y="2249232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4" name="Obrázok 13">
            <a:extLst>
              <a:ext uri="{FF2B5EF4-FFF2-40B4-BE49-F238E27FC236}">
                <a16:creationId xmlns:a16="http://schemas.microsoft.com/office/drawing/2014/main" id="{9F94005E-0108-48B5-B910-B6F6498F37B8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5583" y="2249232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5" name="Obrázok 14">
            <a:extLst>
              <a:ext uri="{FF2B5EF4-FFF2-40B4-BE49-F238E27FC236}">
                <a16:creationId xmlns:a16="http://schemas.microsoft.com/office/drawing/2014/main" id="{7B29807E-8D65-4CF7-B809-ACE9B06A9E1A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000" y="2235575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6" name="Obrázok 15">
            <a:extLst>
              <a:ext uri="{FF2B5EF4-FFF2-40B4-BE49-F238E27FC236}">
                <a16:creationId xmlns:a16="http://schemas.microsoft.com/office/drawing/2014/main" id="{F95FB0C5-7EF5-4629-B23A-B670F34BBEB6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3231" y="3330704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8" name="Obrázok 17">
            <a:extLst>
              <a:ext uri="{FF2B5EF4-FFF2-40B4-BE49-F238E27FC236}">
                <a16:creationId xmlns:a16="http://schemas.microsoft.com/office/drawing/2014/main" id="{D664973D-BC92-4415-893D-00BA79549D6C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5847" y="3340355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9" name="Obrázok 18">
            <a:extLst>
              <a:ext uri="{FF2B5EF4-FFF2-40B4-BE49-F238E27FC236}">
                <a16:creationId xmlns:a16="http://schemas.microsoft.com/office/drawing/2014/main" id="{65ABCB9E-01A2-4623-80D3-7C517E087304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847" y="3340355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0" name="Obrázok 19">
            <a:extLst>
              <a:ext uri="{FF2B5EF4-FFF2-40B4-BE49-F238E27FC236}">
                <a16:creationId xmlns:a16="http://schemas.microsoft.com/office/drawing/2014/main" id="{70824BB1-B291-474D-BA2A-08314BDFE287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6428" y="3330704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1" name="Obrázok 20">
            <a:extLst>
              <a:ext uri="{FF2B5EF4-FFF2-40B4-BE49-F238E27FC236}">
                <a16:creationId xmlns:a16="http://schemas.microsoft.com/office/drawing/2014/main" id="{F5A8C2F3-2047-41FF-A7FB-4707199590AA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0615" y="3340355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2" name="Obrázok 21">
            <a:extLst>
              <a:ext uri="{FF2B5EF4-FFF2-40B4-BE49-F238E27FC236}">
                <a16:creationId xmlns:a16="http://schemas.microsoft.com/office/drawing/2014/main" id="{A871E8EA-0734-4E1D-A61A-ED021233FD11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0615" y="3326698"/>
            <a:ext cx="1440000" cy="10278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3" name="Obrázok 22">
            <a:extLst>
              <a:ext uri="{FF2B5EF4-FFF2-40B4-BE49-F238E27FC236}">
                <a16:creationId xmlns:a16="http://schemas.microsoft.com/office/drawing/2014/main" id="{63BB3057-04E7-4909-A0B6-6CDD8C94328A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847" y="4376680"/>
            <a:ext cx="1440000" cy="1032805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4" name="Obrázok 23">
            <a:extLst>
              <a:ext uri="{FF2B5EF4-FFF2-40B4-BE49-F238E27FC236}">
                <a16:creationId xmlns:a16="http://schemas.microsoft.com/office/drawing/2014/main" id="{7ABBE562-A272-45E9-87C0-F3666C895986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2389" y="4389005"/>
            <a:ext cx="1440000" cy="1032909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5" name="Obrázok 24">
            <a:extLst>
              <a:ext uri="{FF2B5EF4-FFF2-40B4-BE49-F238E27FC236}">
                <a16:creationId xmlns:a16="http://schemas.microsoft.com/office/drawing/2014/main" id="{4B092F06-45C0-4C9E-A421-E291783F45FF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185" y="4393181"/>
            <a:ext cx="1440000" cy="1016304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6" name="Obrázok 25">
            <a:extLst>
              <a:ext uri="{FF2B5EF4-FFF2-40B4-BE49-F238E27FC236}">
                <a16:creationId xmlns:a16="http://schemas.microsoft.com/office/drawing/2014/main" id="{0F9DA2A7-A474-4809-B6FE-DDF8259093F2}"/>
              </a:ext>
            </a:extLst>
          </p:cNvPr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0615" y="4391339"/>
            <a:ext cx="1440000" cy="103237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7" name="Obrázok 26">
            <a:extLst>
              <a:ext uri="{FF2B5EF4-FFF2-40B4-BE49-F238E27FC236}">
                <a16:creationId xmlns:a16="http://schemas.microsoft.com/office/drawing/2014/main" id="{F5F10D67-F8F4-4A8F-BD21-5E510F03999F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000" y="4414553"/>
            <a:ext cx="1440000" cy="1015100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8" name="Obrázok 27">
            <a:extLst>
              <a:ext uri="{FF2B5EF4-FFF2-40B4-BE49-F238E27FC236}">
                <a16:creationId xmlns:a16="http://schemas.microsoft.com/office/drawing/2014/main" id="{055C7ED7-68AD-4546-BF80-A6A91408DCBA}"/>
              </a:ext>
            </a:extLst>
          </p:cNvPr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1884" y="4389846"/>
            <a:ext cx="1440000" cy="1034333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29" name="Obrázok 28">
            <a:extLst>
              <a:ext uri="{FF2B5EF4-FFF2-40B4-BE49-F238E27FC236}">
                <a16:creationId xmlns:a16="http://schemas.microsoft.com/office/drawing/2014/main" id="{38FF844E-34DE-465E-913E-0B037CDE44CB}"/>
              </a:ext>
            </a:extLst>
          </p:cNvPr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0208" y="5442719"/>
            <a:ext cx="1440000" cy="1037252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30" name="Obrázok 29">
            <a:extLst>
              <a:ext uri="{FF2B5EF4-FFF2-40B4-BE49-F238E27FC236}">
                <a16:creationId xmlns:a16="http://schemas.microsoft.com/office/drawing/2014/main" id="{18B6E9CD-743C-43A1-9C7F-302A582BB80C}"/>
              </a:ext>
            </a:extLst>
          </p:cNvPr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1884" y="5455521"/>
            <a:ext cx="1440000" cy="1037244"/>
          </a:xfrm>
          <a:prstGeom prst="rect">
            <a:avLst/>
          </a:prstGeom>
          <a:effectLst>
            <a:softEdge rad="50800"/>
          </a:effectLst>
        </p:spPr>
      </p:pic>
    </p:spTree>
    <p:extLst>
      <p:ext uri="{BB962C8B-B14F-4D97-AF65-F5344CB8AC3E}">
        <p14:creationId xmlns:p14="http://schemas.microsoft.com/office/powerpoint/2010/main" val="249418529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ba_Templates_080415">
  <a:themeElements>
    <a:clrScheme name="Miba Farben">
      <a:dk1>
        <a:sysClr val="windowText" lastClr="000000"/>
      </a:dk1>
      <a:lt1>
        <a:sysClr val="window" lastClr="FFFFFF"/>
      </a:lt1>
      <a:dk2>
        <a:srgbClr val="002A64"/>
      </a:dk2>
      <a:lt2>
        <a:srgbClr val="EEECE1"/>
      </a:lt2>
      <a:accent1>
        <a:srgbClr val="002A64"/>
      </a:accent1>
      <a:accent2>
        <a:srgbClr val="F9C718"/>
      </a:accent2>
      <a:accent3>
        <a:srgbClr val="93B5BD"/>
      </a:accent3>
      <a:accent4>
        <a:srgbClr val="217CA6"/>
      </a:accent4>
      <a:accent5>
        <a:srgbClr val="4B6A70"/>
      </a:accent5>
      <a:accent6>
        <a:srgbClr val="FF9D0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-Design">
  <a:themeElements>
    <a:clrScheme name="Miba Farben">
      <a:dk1>
        <a:sysClr val="windowText" lastClr="000000"/>
      </a:dk1>
      <a:lt1>
        <a:sysClr val="window" lastClr="FFFFFF"/>
      </a:lt1>
      <a:dk2>
        <a:srgbClr val="002A64"/>
      </a:dk2>
      <a:lt2>
        <a:srgbClr val="EEECE1"/>
      </a:lt2>
      <a:accent1>
        <a:srgbClr val="002A64"/>
      </a:accent1>
      <a:accent2>
        <a:srgbClr val="F9C718"/>
      </a:accent2>
      <a:accent3>
        <a:srgbClr val="93B5BD"/>
      </a:accent3>
      <a:accent4>
        <a:srgbClr val="217CA6"/>
      </a:accent4>
      <a:accent5>
        <a:srgbClr val="4B6A70"/>
      </a:accent5>
      <a:accent6>
        <a:srgbClr val="FF9D00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626</Words>
  <Application>Microsoft Office PowerPoint</Application>
  <PresentationFormat>On-screen Show (4:3)</PresentationFormat>
  <Paragraphs>313</Paragraphs>
  <Slides>27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35" baseType="lpstr">
      <vt:lpstr>Arial</vt:lpstr>
      <vt:lpstr>Calibri</vt:lpstr>
      <vt:lpstr>Symbol</vt:lpstr>
      <vt:lpstr>Times New Roman</vt:lpstr>
      <vt:lpstr>Miba_Templates_080415</vt:lpstr>
      <vt:lpstr>2_Office-Design</vt:lpstr>
      <vt:lpstr>think-cell Slide</vt:lpstr>
      <vt:lpstr>think-cell Folie</vt:lpstr>
      <vt:lpstr>Innovation in Motion technológie pre čistejšiu planétu</vt:lpstr>
      <vt:lpstr>História spoločnosti Miba</vt:lpstr>
      <vt:lpstr>Miba 2020 – Dynamic Evolution</vt:lpstr>
      <vt:lpstr>PowerPoint Presentation</vt:lpstr>
      <vt:lpstr>Od produktu k aplikácii</vt:lpstr>
      <vt:lpstr>Miba Sinter Group</vt:lpstr>
      <vt:lpstr>Miba Sinter Slovakia s.r.o.</vt:lpstr>
      <vt:lpstr>Miba Sinter Slovakia</vt:lpstr>
      <vt:lpstr>Produkty spoločnosti </vt:lpstr>
      <vt:lpstr>Referencie</vt:lpstr>
      <vt:lpstr>Duálne vzdelávanie</vt:lpstr>
      <vt:lpstr>Vznik duálneho vzdelávania</vt:lpstr>
      <vt:lpstr>Systém duálneho vzdelávania  v spoločnosti Miba ponúka</vt:lpstr>
      <vt:lpstr>Čo očakávame od žiakov</vt:lpstr>
      <vt:lpstr>Ponúkane odbory</vt:lpstr>
      <vt:lpstr>Zapojenie sa do nášho systému duálneho vzdelávania</vt:lpstr>
      <vt:lpstr>Zapojenie sa do nášho systému duálneho vzdelávania</vt:lpstr>
      <vt:lpstr>Zapojenie sa do nášho systému duálneho vzdelávani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BA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in Arial 30 pt</dc:title>
  <dc:creator>Krajcovic Oleg</dc:creator>
  <cp:lastModifiedBy>Matis Tomas</cp:lastModifiedBy>
  <cp:revision>528</cp:revision>
  <cp:lastPrinted>2014-12-11T11:12:28Z</cp:lastPrinted>
  <dcterms:created xsi:type="dcterms:W3CDTF">2017-03-20T13:05:10Z</dcterms:created>
  <dcterms:modified xsi:type="dcterms:W3CDTF">2023-11-13T06:46:20Z</dcterms:modified>
</cp:coreProperties>
</file>